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11BE_98EAE244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21A_F678681F.xml" ContentType="application/vnd.ms-powerpoint.comment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436" r:id="rId5"/>
    <p:sldId id="488" r:id="rId6"/>
    <p:sldId id="4536" r:id="rId7"/>
    <p:sldId id="4552" r:id="rId8"/>
    <p:sldId id="540" r:id="rId9"/>
    <p:sldId id="552" r:id="rId10"/>
    <p:sldId id="4542" r:id="rId11"/>
    <p:sldId id="527" r:id="rId12"/>
    <p:sldId id="4553" r:id="rId13"/>
    <p:sldId id="4554" r:id="rId14"/>
    <p:sldId id="4555" r:id="rId15"/>
    <p:sldId id="4556" r:id="rId16"/>
    <p:sldId id="534" r:id="rId17"/>
    <p:sldId id="536" r:id="rId18"/>
    <p:sldId id="4558" r:id="rId19"/>
    <p:sldId id="4559" r:id="rId20"/>
    <p:sldId id="4551" r:id="rId21"/>
    <p:sldId id="538" r:id="rId22"/>
    <p:sldId id="4460" r:id="rId23"/>
    <p:sldId id="4534" r:id="rId24"/>
    <p:sldId id="4496" r:id="rId25"/>
  </p:sldIdLst>
  <p:sldSz cx="12192000" cy="6858000"/>
  <p:notesSz cx="6858000" cy="9144000"/>
  <p:custDataLst>
    <p:tags r:id="rId28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9E9DD1A-7636-2163-FEEB-CEB26753A27B}" name="Ed Charbeneau" initials="EC" userId="S::echarben@progress.com::c4e53c42-9593-443c-aa5c-4c20c8b3bba2" providerId="AD"/>
  <p188:author id="{08CADC58-1749-EA6A-35AE-2B66F17B391E}" name="Radko Stanev" initials="RS" userId="S::stanev@progress.com::0ece7dae-3d8e-4b31-900a-e262373385d9" providerId="AD"/>
  <p188:author id="{76424179-DF0C-6C3F-45BB-3B994759A598}" name="Lyubomir Atanasov" initials="LA" userId="S::latanaso@progress.com::ad236808-88be-4aa1-91bd-b36f0dc6205f" providerId="AD"/>
  <p188:author id="{95643D85-A7CE-3B98-EDDF-58288B4DF212}" name="Maria Veledinova" initials="MV" userId="S::veledino@progress.com::98f20efe-5ede-43f3-ba74-bf69ff52d83f" providerId="AD"/>
  <p188:author id="{24AEC3D2-5546-908D-B94C-E1E8FD675FB9}" name="Ed Charbeneau" initials="EC" userId="Ed Charbeneau" providerId="None"/>
  <p188:author id="{076F83DA-7C02-AD6F-9EFD-BCFD45E55394}" name="Richard Zaslaw" initials="RZ" userId="S::zaslaw@progress.com::d4e392b1-686a-4b7d-9a02-46cb820161d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ki Scaplen" initials="NS" lastIdx="19" clrIdx="0">
    <p:extLst>
      <p:ext uri="{19B8F6BF-5375-455C-9EA6-DF929625EA0E}">
        <p15:presenceInfo xmlns:p15="http://schemas.microsoft.com/office/powerpoint/2012/main" userId="S::nscaplen@progress.com::e49d323e-6f55-401c-9b10-1207db307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00D364"/>
    <a:srgbClr val="76C1FF"/>
    <a:srgbClr val="CDFFCA"/>
    <a:srgbClr val="F3FAFF"/>
    <a:srgbClr val="EEF5FF"/>
    <a:srgbClr val="7F7F7F"/>
    <a:srgbClr val="D5F1FF"/>
    <a:srgbClr val="90EF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1B181C-CFB8-4DCD-AB61-3085ABCFF16F}" v="4" dt="2023-10-16T21:34:12.559"/>
  </p1510:revLst>
</p1510:revInfo>
</file>

<file path=ppt/tableStyles.xml><?xml version="1.0" encoding="utf-8"?>
<a:tblStyleLst xmlns:a="http://schemas.openxmlformats.org/drawingml/2006/main" def="{1E171933-4619-4E11-9A3F-F7608DF75F80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364" autoAdjust="0"/>
  </p:normalViewPr>
  <p:slideViewPr>
    <p:cSldViewPr snapToGrid="0">
      <p:cViewPr varScale="1">
        <p:scale>
          <a:sx n="137" d="100"/>
          <a:sy n="137" d="100"/>
        </p:scale>
        <p:origin x="1176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omments/modernComment_11BE_98EAE24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F2837C5-225A-49B0-8141-33BDF21897EF}" authorId="{76424179-DF0C-6C3F-45BB-3B994759A598}" status="resolved" created="2023-06-06T13:40:41.855" complete="100000">
    <pc:sldMkLst xmlns:pc="http://schemas.microsoft.com/office/powerpoint/2013/main/command">
      <pc:docMk/>
      <pc:sldMk cId="2565530180" sldId="4542"/>
    </pc:sldMkLst>
    <p188:replyLst>
      <p188:reply id="{D71E2EDC-3C79-426E-ACF0-2960ED3AD5A0}" authorId="{69E9DD1A-7636-2163-FEEB-CEB26753A27B}" created="2023-06-06T14:54:20.132">
        <p188:txBody>
          <a:bodyPr/>
          <a:lstStyle/>
          <a:p>
            <a:r>
              <a:rPr lang="en-US"/>
              <a:t>Changed slide order to talk about CSP then mention it again when talking about fonts. This why people know what CSP is already as we discuss fonts.</a:t>
            </a:r>
          </a:p>
        </p188:txBody>
      </p188:reply>
    </p188:replyLst>
    <p188:txBody>
      <a:bodyPr/>
      <a:lstStyle/>
      <a:p>
        <a:r>
          <a:rPr lang="en-US"/>
          <a:t>Check next slide to link icons with CSP</a:t>
        </a:r>
      </a:p>
    </p188:txBody>
  </p188:cm>
</p188:cmLst>
</file>

<file path=ppt/comments/modernComment_21A_F678681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B8A68D3-D8BE-46B6-9BD4-2246F90B49F9}" authorId="{76424179-DF0C-6C3F-45BB-3B994759A598}" status="resolved" created="2023-06-06T14:01:57.901" complete="100000">
    <pc:sldMkLst xmlns:pc="http://schemas.microsoft.com/office/powerpoint/2013/main/command">
      <pc:docMk/>
      <pc:sldMk cId="4135086111" sldId="538"/>
    </pc:sldMkLst>
    <p188:replyLst>
      <p188:reply id="{D2BF67EA-5EBF-45A1-A37B-0DB6CDECC529}" authorId="{69E9DD1A-7636-2163-FEEB-CEB26753A27B}" created="2023-06-06T16:07:59.677">
        <p188:txBody>
          <a:bodyPr/>
          <a:lstStyle/>
          <a:p>
            <a:r>
              <a:rPr lang="en-US"/>
              <a:t>Added a slide</a:t>
            </a:r>
          </a:p>
        </p188:txBody>
      </p188:reply>
    </p188:replyLst>
    <p188:txBody>
      <a:bodyPr/>
      <a:lstStyle/>
      <a:p>
        <a:r>
          <a:rPr lang="en-US"/>
          <a:t>You could add "Customize the Map Component marker appearance"  to blazor, as it has been a highly requested improvement ☺️ 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FA2CC-1B66-4639-B8DA-DB494024A982}" type="datetimeFigureOut">
              <a:rPr lang="id-ID" smtClean="0">
                <a:latin typeface="Arial" panose="020B0604020202020204" pitchFamily="34" charset="0"/>
              </a:rPr>
              <a:t>20/10/2023</a:t>
            </a:fld>
            <a:endParaRPr lang="id-ID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9753B-F854-4C78-AD17-D3232BD27861}" type="slidenum">
              <a:rPr lang="id-ID" smtClean="0">
                <a:latin typeface="Arial" panose="020B0604020202020204" pitchFamily="34" charset="0"/>
              </a:rPr>
              <a:t>‹#›</a:t>
            </a:fld>
            <a:endParaRPr lang="id-ID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930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E38D6616-5898-4FCB-A57E-5ECAF0ABEA38}" type="datetimeFigureOut">
              <a:rPr lang="id-ID" smtClean="0"/>
              <a:pPr/>
              <a:t>20/10/2023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93019A1-94FF-4EE3-817F-0E236D94A3C5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37661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t>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221306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ockManag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UI compon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 and Pyramid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Powerful customizations across components: Scheduler Custom Toolbar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atePick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utofill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TabStrip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Templat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enhancements: Improv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crolling, updat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rendering based on latest designs​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Grid improvements: Dedicated Context Menu, improved Select or Multi-select on mobile devices with Touch Interactions, option to enable "Changing" Ev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973702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cheduler - Integration example with Google Calend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daptive Behavior Resources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874513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omponents: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ListBox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ropDownButton</a:t>
            </a:r>
            <a:endParaRPr lang="en-US" b="0" i="0" dirty="0">
              <a:solidFill>
                <a:srgbClr val="000000"/>
              </a:solidFill>
              <a:effectLst/>
              <a:latin typeface="Metric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Area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Ba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Column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nd Waterfall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Multiple Chart enhancements: Pan and Zoo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rillDown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uppo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ivotGrid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improvements: Width of Column and Row headers, 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HeaderClass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/ Title of Column, Row, and Hea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Enhanced Gantt Popup Edit Form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Compatibility with .NET 8 RC2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753166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omponents: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ListBox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ropDownButton</a:t>
            </a:r>
            <a:endParaRPr lang="en-US" b="0" i="0" dirty="0">
              <a:solidFill>
                <a:srgbClr val="000000"/>
              </a:solidFill>
              <a:effectLst/>
              <a:latin typeface="Metric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Area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Ba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Column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nd Waterfall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Multiple Chart enhancements: Pan and Zoo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rillDown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uppo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ivotGrid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improvements: Width of Column and Row headers, 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HeaderClass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/ Title of Column, Row, and Hea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Enhanced Gantt Popup Edit Form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Compatibility with .NET 8 RC2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799852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omponents: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ListBox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ropDownButton</a:t>
            </a:r>
            <a:endParaRPr lang="en-US" b="0" i="0" dirty="0">
              <a:solidFill>
                <a:srgbClr val="000000"/>
              </a:solidFill>
              <a:effectLst/>
              <a:latin typeface="Metric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Area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Ba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ngeColumn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nd Waterfall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Multiple Chart enhancements: Pan and Zoo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rillDown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uppor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ivotGrid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improvements: Width of Column and Row headers, 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HeaderClass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/ Title of Column, Row, and Hea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Enhanced Gantt Popup Edit Form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Compatibility with .NET 8 RC2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214448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068826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191068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674962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ACC30E-F6A5-484E-A96D-3410F21084A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7128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50042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27061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omponent: Avata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Vertical Area and Vertical Line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RadHtmlCharts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enhancements: Customizing the Label Position, Label Background, Step Property and mor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92355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79325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24720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ockManag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UI compon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 and Pyramid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Powerful customizations across components: Scheduler Custom Toolbar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atePick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utofill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TabStrip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Templat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enhancements: Improv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crolling, updat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rendering based on latest designs​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Grid improvements: Dedicated Context Menu, improved Select or Multi-select on mobile devices with Touch Interactions, option to enable "Changing" Ev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575907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ockManag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UI compon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 and Pyramid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Powerful customizations across components: Scheduler Custom Toolbar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atePick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utofill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TabStrip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Templat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enhancements: Improv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crolling, updat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rendering based on latest designs​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Grid improvements: Dedicated Context Menu, improved Select or Multi-select on mobile devices with Touch Interactions, option to enable "Changing" Ev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18861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ockManag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UI compon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 and Pyramid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Powerful customizations across components: Scheduler Custom Toolbar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atePick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utofill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TabStrip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Templat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enhancements: Improv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crolling, updat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rendering based on latest designs​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Grid improvements: Dedicated Context Menu, improved Select or Multi-select on mobile devices with Touch Interactions, option to enable "Changing" Ev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95598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ockManag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UI compon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Chart series: Trendline and Pyramid char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Powerful customizations across components: Scheduler Custom Toolbar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DatePick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Autofill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TabStrip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Templat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enhancements: Improv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scrolling, updat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 rendering based on latest designs​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Grid improvements: Dedicated Context Menu, improved Select or Multi-select on mobile devices with Touch Interactions, option to enable "Changing" Ev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Strict CSP complia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Accessibility improvemen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etric"/>
              </a:rPr>
              <a:t>New Document Processing Libraries (DPL) fe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019A1-94FF-4EE3-817F-0E236D94A3C5}" type="slidenum">
              <a:rPr lang="id-ID" smtClean="0"/>
              <a:pPr/>
              <a:t>1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96211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4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4.sv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24.sv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5.png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26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4.png"/><Relationship Id="rId4" Type="http://schemas.openxmlformats.org/officeDocument/2006/relationships/image" Target="../media/image3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1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1AA0DB6-5A8E-3741-A2E5-D936D902D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73" y="4846683"/>
            <a:ext cx="5278437" cy="38855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4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D3701CF-5DFA-EE46-92C6-82EBEFFD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73" y="5312130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8E4E795-5B28-AA4F-9CA0-12577F806A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73" y="5771692"/>
            <a:ext cx="5278437" cy="312131"/>
          </a:xfrm>
        </p:spPr>
        <p:txBody>
          <a:bodyPr tIns="72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9EE63D74-8A47-0A4F-A4FD-DE60CD33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73" y="1594770"/>
            <a:ext cx="5261778" cy="1199693"/>
          </a:xfrm>
          <a:prstGeom prst="rect">
            <a:avLst/>
          </a:prstGeom>
        </p:spPr>
        <p:txBody>
          <a:bodyPr lIns="0" tIns="108000" rIns="0" bIns="0" anchor="t" anchorCtr="0">
            <a:noAutofit/>
          </a:bodyPr>
          <a:lstStyle>
            <a:lvl1pPr>
              <a:lnSpc>
                <a:spcPct val="850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7BE795C-072A-459C-8648-8D68BC93FAA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315" y="745314"/>
            <a:ext cx="1341526" cy="3111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D3546BD-7E45-4960-A98F-8DEA36022CB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37375" y="0"/>
            <a:ext cx="5755123" cy="685859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76E93-9883-F34D-AFCA-0B3B56986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73" y="3356068"/>
            <a:ext cx="5294312" cy="674687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270806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gue 2">
    <p:bg>
      <p:bgPr>
        <a:solidFill>
          <a:srgbClr val="703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664C5359-6168-450F-A3B2-F9B3EC03B1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3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50B0453-9552-405E-BEEB-A3A1CB1E15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65F74E2B-B2FC-9A42-9B6A-5C0ED73A15B6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0089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76F96D7-3861-4A18-8BE8-BFE2C16BD1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39E0605-A019-8B42-9A32-973C0229803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59C976F3-4B2A-4592-A02C-33E0810006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2CD28ED7-631C-7840-9872-270900F9D50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540642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27377C-2599-4543-9545-AACF65E5CE68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8980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61753ADC-75D8-4448-B5D4-E9BBB1B32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Agenda</a:t>
            </a:r>
            <a:endParaRPr lang="en-BG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8ADCBA-BAEE-4E90-8DF9-D7E5264863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10656" cy="68580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17AEA2-C535-A841-90FA-42041EABB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1346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275638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61753ADC-75D8-4448-B5D4-E9BBB1B32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Agenda</a:t>
            </a:r>
            <a:endParaRPr lang="en-BG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717AEA2-C535-A841-90FA-42041EABB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1346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D06B22-3C4F-495C-B5B2-271A0F6101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59984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5313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4ADF09-6F6D-4AEF-93DA-46336FD704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59424" cy="6858000"/>
          </a:xfrm>
          <a:prstGeom prst="rect">
            <a:avLst/>
          </a:prstGeom>
        </p:spPr>
      </p:pic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1D14C74F-C6B8-BA4D-B7D2-50D8BE1D3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1" y="538162"/>
            <a:ext cx="5278437" cy="1117523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Agenda</a:t>
            </a:r>
            <a:endParaRPr lang="en-BG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BA020A-167C-8548-B132-41F414F8BC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1346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473697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3A27003-DC61-C64B-B594-FC0DBDB24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14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914E58E-8C0C-C445-92B6-E34490EA0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BB9F5E-A805-46CD-8420-640AE6C6779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4937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438742F8-5A41-4D57-8915-9A3A10D784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3DF981-DDA8-4688-9D48-4FA539CF78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2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03DF981-DDA8-4688-9D48-4FA539CF7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353A27C-9CA1-41C1-8BC3-5CD8A698484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CEBBCEF-39BE-0E4C-9FD9-5B7346DB4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44D47E-2B4A-414F-B983-788987889D27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999918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8C9E8280-2F6B-4947-9931-9EE1011B90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EB774F-D493-4254-A24C-E9681757802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47C19ED-F2B0-4B41-893A-30A30DCEE0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2" y="4198939"/>
            <a:ext cx="7102475" cy="2038350"/>
          </a:xfrm>
          <a:prstGeom prst="rect">
            <a:avLst/>
          </a:prstGeom>
        </p:spPr>
        <p:txBody>
          <a:bodyPr vert="horz" tIns="144000" anchor="t">
            <a:noAutofit/>
          </a:bodyPr>
          <a:lstStyle>
            <a:lvl1pPr>
              <a:lnSpc>
                <a:spcPts val="5400"/>
              </a:lnSpc>
              <a:defRPr lang="en-US" sz="5000" b="1" i="0" kern="0" spc="-15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Very Important </a:t>
            </a:r>
            <a:br>
              <a:rPr lang="bg-BG"/>
            </a:br>
            <a:r>
              <a:rPr lang="en-US"/>
              <a:t>Message / Statement </a:t>
            </a:r>
            <a:br>
              <a:rPr lang="bg-BG"/>
            </a:br>
            <a:r>
              <a:rPr lang="en-US"/>
              <a:t>/ 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6FEC3-598C-8A4B-9E0E-C28EF72E794F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2336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DE9F7"/>
          </a:solidFill>
        </p:spPr>
        <p:txBody>
          <a:bodyPr vert="horz" lIns="91440" tIns="72000" rIns="91440" bIns="756000" rtlCol="0" anchor="ctr">
            <a:noAutofit/>
          </a:bodyPr>
          <a:lstStyle>
            <a:lvl1pPr algn="ctr">
              <a:defRPr lang="id-ID" sz="18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0508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786517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AA7A2AD-DF24-40EA-A53E-3386C69575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32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6">
            <a:extLst>
              <a:ext uri="{FF2B5EF4-FFF2-40B4-BE49-F238E27FC236}">
                <a16:creationId xmlns:a16="http://schemas.microsoft.com/office/drawing/2014/main" id="{A87FB057-54B4-994F-8BD3-467867D7B63A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Headline Up to</a:t>
            </a:r>
            <a:br>
              <a:rPr lang="en-GB"/>
            </a:br>
            <a:r>
              <a:rPr lang="en-GB"/>
              <a:t>Three </a:t>
            </a:r>
            <a:br>
              <a:rPr lang="en-GB"/>
            </a:br>
            <a:r>
              <a:rPr lang="en-GB"/>
              <a:t>Lines</a:t>
            </a:r>
            <a:endParaRPr lang="en-BG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2BF545EA-B47D-46DC-9BE9-5554CA1726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7452" y="0"/>
            <a:ext cx="10984548" cy="6858000"/>
          </a:xfrm>
          <a:custGeom>
            <a:avLst/>
            <a:gdLst>
              <a:gd name="connsiteX0" fmla="*/ 0 w 10984548"/>
              <a:gd name="connsiteY0" fmla="*/ 0 h 6851650"/>
              <a:gd name="connsiteX1" fmla="*/ 6617336 w 10984548"/>
              <a:gd name="connsiteY1" fmla="*/ 0 h 6851650"/>
              <a:gd name="connsiteX2" fmla="*/ 10717848 w 10984548"/>
              <a:gd name="connsiteY2" fmla="*/ 0 h 6851650"/>
              <a:gd name="connsiteX3" fmla="*/ 10961688 w 10984548"/>
              <a:gd name="connsiteY3" fmla="*/ 0 h 6851650"/>
              <a:gd name="connsiteX4" fmla="*/ 10984548 w 10984548"/>
              <a:gd name="connsiteY4" fmla="*/ 0 h 6851650"/>
              <a:gd name="connsiteX5" fmla="*/ 10984548 w 10984548"/>
              <a:gd name="connsiteY5" fmla="*/ 2921000 h 6851650"/>
              <a:gd name="connsiteX6" fmla="*/ 10984548 w 10984548"/>
              <a:gd name="connsiteY6" fmla="*/ 6851650 h 6851650"/>
              <a:gd name="connsiteX7" fmla="*/ 10961688 w 10984548"/>
              <a:gd name="connsiteY7" fmla="*/ 6851650 h 6851650"/>
              <a:gd name="connsiteX8" fmla="*/ 10717848 w 10984548"/>
              <a:gd name="connsiteY8" fmla="*/ 6851650 h 6851650"/>
              <a:gd name="connsiteX9" fmla="*/ 10529888 w 10984548"/>
              <a:gd name="connsiteY9" fmla="*/ 6851650 h 6851650"/>
              <a:gd name="connsiteX10" fmla="*/ 10529888 w 10984548"/>
              <a:gd name="connsiteY10" fmla="*/ 6270625 h 6851650"/>
              <a:gd name="connsiteX11" fmla="*/ 10529888 w 10984548"/>
              <a:gd name="connsiteY11" fmla="*/ 6238875 h 6851650"/>
              <a:gd name="connsiteX12" fmla="*/ 10523538 w 10984548"/>
              <a:gd name="connsiteY12" fmla="*/ 6203950 h 6851650"/>
              <a:gd name="connsiteX13" fmla="*/ 10514013 w 10984548"/>
              <a:gd name="connsiteY13" fmla="*/ 6172200 h 6851650"/>
              <a:gd name="connsiteX14" fmla="*/ 10501313 w 10984548"/>
              <a:gd name="connsiteY14" fmla="*/ 6140450 h 6851650"/>
              <a:gd name="connsiteX15" fmla="*/ 10479088 w 10984548"/>
              <a:gd name="connsiteY15" fmla="*/ 6099175 h 6851650"/>
              <a:gd name="connsiteX16" fmla="*/ 10453688 w 10984548"/>
              <a:gd name="connsiteY16" fmla="*/ 6061075 h 6851650"/>
              <a:gd name="connsiteX17" fmla="*/ 10421938 w 10984548"/>
              <a:gd name="connsiteY17" fmla="*/ 6029325 h 6851650"/>
              <a:gd name="connsiteX18" fmla="*/ 10387013 w 10984548"/>
              <a:gd name="connsiteY18" fmla="*/ 6000750 h 6851650"/>
              <a:gd name="connsiteX19" fmla="*/ 10347325 w 10984548"/>
              <a:gd name="connsiteY19" fmla="*/ 5975350 h 6851650"/>
              <a:gd name="connsiteX20" fmla="*/ 10309225 w 10984548"/>
              <a:gd name="connsiteY20" fmla="*/ 5949950 h 6851650"/>
              <a:gd name="connsiteX21" fmla="*/ 10226675 w 10984548"/>
              <a:gd name="connsiteY21" fmla="*/ 5902325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84548" h="6851650">
                <a:moveTo>
                  <a:pt x="0" y="0"/>
                </a:moveTo>
                <a:lnTo>
                  <a:pt x="6617336" y="0"/>
                </a:lnTo>
                <a:lnTo>
                  <a:pt x="10717848" y="0"/>
                </a:lnTo>
                <a:lnTo>
                  <a:pt x="10961688" y="0"/>
                </a:lnTo>
                <a:lnTo>
                  <a:pt x="10984548" y="0"/>
                </a:lnTo>
                <a:lnTo>
                  <a:pt x="10984548" y="2921000"/>
                </a:lnTo>
                <a:lnTo>
                  <a:pt x="10984548" y="6851650"/>
                </a:lnTo>
                <a:lnTo>
                  <a:pt x="10961688" y="6851650"/>
                </a:lnTo>
                <a:lnTo>
                  <a:pt x="10717848" y="6851650"/>
                </a:lnTo>
                <a:lnTo>
                  <a:pt x="10529888" y="6851650"/>
                </a:lnTo>
                <a:lnTo>
                  <a:pt x="10529888" y="6270625"/>
                </a:lnTo>
                <a:lnTo>
                  <a:pt x="10529888" y="6238875"/>
                </a:lnTo>
                <a:lnTo>
                  <a:pt x="10523538" y="6203950"/>
                </a:lnTo>
                <a:lnTo>
                  <a:pt x="10514013" y="6172200"/>
                </a:lnTo>
                <a:lnTo>
                  <a:pt x="10501313" y="6140450"/>
                </a:lnTo>
                <a:lnTo>
                  <a:pt x="10479088" y="6099175"/>
                </a:lnTo>
                <a:lnTo>
                  <a:pt x="10453688" y="6061075"/>
                </a:lnTo>
                <a:lnTo>
                  <a:pt x="10421938" y="6029325"/>
                </a:lnTo>
                <a:lnTo>
                  <a:pt x="10387013" y="6000750"/>
                </a:lnTo>
                <a:lnTo>
                  <a:pt x="10347325" y="5975350"/>
                </a:lnTo>
                <a:lnTo>
                  <a:pt x="10309225" y="5949950"/>
                </a:lnTo>
                <a:lnTo>
                  <a:pt x="10226675" y="5902325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0" indent="0" algn="r">
              <a:buNone/>
              <a:defRPr lang="id-ID" b="1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US"/>
              <a:t>Click icon to add picture</a:t>
            </a:r>
            <a:endParaRPr lang="id-ID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85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97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Sample Long Agenda</a:t>
            </a:r>
            <a:endParaRPr lang="en-BG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9A1C1DC-057B-7F49-B87B-ADDF223045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15064" y="1805153"/>
            <a:ext cx="5254625" cy="4409909"/>
          </a:xfrm>
        </p:spPr>
        <p:txBody>
          <a:bodyPr/>
          <a:lstStyle>
            <a:lvl1pPr marL="314325" indent="-314325">
              <a:lnSpc>
                <a:spcPct val="100000"/>
              </a:lnSpc>
              <a:buClr>
                <a:schemeClr val="tx2"/>
              </a:buClr>
              <a:buSzPct val="100000"/>
              <a:buFont typeface="+mj-lt"/>
              <a:buAutoNum type="arabicPeriod"/>
              <a:tabLst/>
              <a:defRPr/>
            </a:lvl1pPr>
            <a:lvl2pPr marL="536575" indent="-314325">
              <a:lnSpc>
                <a:spcPct val="100000"/>
              </a:lnSpc>
              <a:buSzPct val="90000"/>
              <a:buFont typeface="+mj-lt"/>
              <a:buAutoNum type="alphaLcPeriod"/>
              <a:tabLst/>
              <a:defRPr/>
            </a:lvl2pPr>
            <a:lvl3pPr marL="760413" indent="-223838">
              <a:lnSpc>
                <a:spcPct val="100000"/>
              </a:lnSpc>
              <a:tabLst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5E9E2C4-1C97-974A-8848-7C28BE3C3A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61278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32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411003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6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9837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CB98D92-10C3-0C4B-8531-7B51301E3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600" y="1813033"/>
            <a:ext cx="7101188" cy="44019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20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9152548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5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1E54A24-0A79-4645-95BB-872276B99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Two Column Style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974D47-3A79-8246-9C85-B26A11235A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4A7AE83-B9C1-1D4E-9469-01C3D28EF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92838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9719639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382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B4A0B0-544B-4680-B496-7634409E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124C9F4-9F1E-5D4F-8CC2-BAA0F34CFB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1" y="1814513"/>
            <a:ext cx="3459164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28A142A-B0F7-C544-B3CD-9A6546563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8709" y="1814513"/>
            <a:ext cx="3459164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8E67F24-9CF1-9547-BD5E-84589B31B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10527" y="1814513"/>
            <a:ext cx="3459161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3465839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29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B29C63-2AD6-4DE5-B0A2-CB6E5C4AD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1139825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7A8F6A1-E4E4-4646-933F-3032F97511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313" y="1814513"/>
            <a:ext cx="2528887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3A8B205-3828-1A4D-9D4B-309BF2F3FF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46660" y="1814513"/>
            <a:ext cx="2554090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4C483FE-70FF-7041-9119-FDE32D70CA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71006" y="1814513"/>
            <a:ext cx="2554090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6086923-DD39-8546-9401-95099CDCA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23633" y="1814513"/>
            <a:ext cx="2554090" cy="4487862"/>
          </a:xfrm>
        </p:spPr>
        <p:txBody>
          <a:bodyPr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/>
            </a:lvl1pPr>
            <a:lvl2pPr marL="225425" indent="0">
              <a:buNone/>
              <a:defRPr/>
            </a:lvl2pPr>
            <a:lvl3pPr marL="44767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838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801052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5F93B13-79C7-D043-BA6B-61F781D9B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opic 1</a:t>
            </a:r>
            <a:endParaRPr lang="en-B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C55D09-8538-334E-A1E1-71B22D8027B5}"/>
              </a:ext>
            </a:extLst>
          </p:cNvPr>
          <p:cNvSpPr txBox="1"/>
          <p:nvPr userDrawn="1"/>
        </p:nvSpPr>
        <p:spPr>
          <a:xfrm>
            <a:off x="2151529" y="188258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67CE013-E7C8-B849-A3FC-A0574A8A9A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283" y="1677988"/>
            <a:ext cx="5278437" cy="455611"/>
          </a:xfrm>
        </p:spPr>
        <p:txBody>
          <a:bodyPr/>
          <a:lstStyle>
            <a:lvl1pPr marL="0" indent="0">
              <a:buNone/>
              <a:defRPr b="1" i="0" spc="-1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opic 2</a:t>
            </a:r>
            <a:endParaRPr lang="en-BG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148B8A9-EDCF-FE41-AFC9-FAEC5D5C7B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3900" y="2362200"/>
            <a:ext cx="5276850" cy="3875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B97B37-7995-DB4F-ACD9-6F4ED7D806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2020" y="2362200"/>
            <a:ext cx="5276850" cy="3875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91945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7102475" cy="909637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6BE96-7B0A-F94A-B96E-1C7E0D03F3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2226366"/>
            <a:ext cx="3459162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.</a:t>
            </a:r>
            <a:endParaRPr lang="en-BG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F9D9998-0CE0-0441-A69C-9694964055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9275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</a:t>
            </a:r>
            <a:endParaRPr lang="en-BG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C25D13-53AB-804E-8F48-9FEEE4C8F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2588" y="2226366"/>
            <a:ext cx="3467099" cy="4010922"/>
          </a:xfrm>
        </p:spPr>
        <p:txBody>
          <a:bodyPr tIns="36000"/>
          <a:lstStyle>
            <a:lvl1pPr marL="0" indent="0">
              <a:lnSpc>
                <a:spcPct val="120000"/>
              </a:lnSpc>
              <a:buNone/>
              <a:defRPr sz="2000" b="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ntrary to popular belief, Lorem Ipsum is not simply random text. It has roots in a piece of classical Latin literature from 45 BC, making it over 2000 years old.</a:t>
            </a:r>
            <a:endParaRPr lang="en-B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26DDAF-094D-974B-82E0-4E14EC03BAE4}"/>
              </a:ext>
            </a:extLst>
          </p:cNvPr>
          <p:cNvSpPr txBox="1"/>
          <p:nvPr userDrawn="1"/>
        </p:nvSpPr>
        <p:spPr>
          <a:xfrm>
            <a:off x="2624866" y="194713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91E0E34-AD4F-0F47-AF74-1B26AAD2B2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1568658"/>
            <a:ext cx="7102475" cy="474150"/>
          </a:xfrm>
        </p:spPr>
        <p:txBody>
          <a:bodyPr/>
          <a:lstStyle>
            <a:lvl1pPr marL="0" indent="0">
              <a:buNone/>
              <a:defRPr b="0" i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err="1"/>
              <a:t>Subheadlin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1373129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9951F-ED4C-C940-B5BF-D5511A5CD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4" y="538163"/>
            <a:ext cx="7869894" cy="1139825"/>
          </a:xfrm>
        </p:spPr>
        <p:txBody>
          <a:bodyPr tIns="108000"/>
          <a:lstStyle/>
          <a:p>
            <a:r>
              <a:rPr lang="en-GB"/>
              <a:t>Simple Bullet List</a:t>
            </a:r>
            <a:endParaRPr lang="en-BG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2E8E46A-3A9D-D741-84CB-B29020082E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3900" y="1814513"/>
            <a:ext cx="7868308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136746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9A3E233-1134-EA42-BC96-EE2143559B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AA7A2AD-DF24-40EA-A53E-3386C69575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07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A41AE411-511D-8146-8417-A7B559E66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Headline Up to</a:t>
            </a:r>
            <a:br>
              <a:rPr lang="en-GB"/>
            </a:br>
            <a:r>
              <a:rPr lang="en-GB"/>
              <a:t>Three </a:t>
            </a:r>
            <a:br>
              <a:rPr lang="en-GB"/>
            </a:br>
            <a:r>
              <a:rPr lang="en-GB"/>
              <a:t>Lines</a:t>
            </a:r>
            <a:endParaRPr lang="en-BG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5FFB1DD7-A134-4800-A20B-F8CB2D63D4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EC20BF15-B521-4443-B82F-AD15675E6FE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527808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487D29E-9CF3-5846-A0A6-ACDFF18C4847}"/>
              </a:ext>
            </a:extLst>
          </p:cNvPr>
          <p:cNvSpPr/>
          <p:nvPr userDrawn="1"/>
        </p:nvSpPr>
        <p:spPr>
          <a:xfrm>
            <a:off x="6191250" y="0"/>
            <a:ext cx="6000750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81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46A8BB2B-AE4D-BB44-A1A2-79A96764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C0BB56D3-44B0-46C4-805C-637BCD9D58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725" y="0"/>
            <a:ext cx="6010275" cy="685800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7B56C2E7-8311-4B5A-A6E3-5CD91A5A796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6A8276B-0F06-604A-9D22-AA9DC5D23B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D9C409-6129-524A-A370-83CF6434D125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06807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half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D0A292-1CC7-4725-955D-6F0D47183E18}"/>
              </a:ext>
            </a:extLst>
          </p:cNvPr>
          <p:cNvSpPr/>
          <p:nvPr userDrawn="1"/>
        </p:nvSpPr>
        <p:spPr>
          <a:xfrm>
            <a:off x="6178550" y="0"/>
            <a:ext cx="6013450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86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13562EE-EF99-40E8-B245-0897306FCB8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725" y="0"/>
            <a:ext cx="6010275" cy="6858000"/>
          </a:xfrm>
          <a:prstGeom prst="rect">
            <a:avLst/>
          </a:prstGeom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1B465833-A1E4-4E81-8B46-84ECCC6972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9818020-1C0A-6F44-B4B9-C417A1D0F2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982FC7-44A3-9448-8DC9-32DD283EE71D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16491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8462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044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2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78085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16D7C-13E7-8F44-B567-E0CB454B81B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D956066-0822-7C4E-B1F5-A5FF044796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8767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8103B8-912B-6840-91F6-51424D8F16B3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04355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Background pattern&#10;&#10;Description automatically generated">
            <a:extLst>
              <a:ext uri="{FF2B5EF4-FFF2-40B4-BE49-F238E27FC236}">
                <a16:creationId xmlns:a16="http://schemas.microsoft.com/office/drawing/2014/main" id="{6C946DA6-3C38-45FB-884C-BC8FEC522B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10275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39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6178550" y="538163"/>
            <a:ext cx="2554288" cy="1464044"/>
            <a:chOff x="7355176" y="1247511"/>
            <a:chExt cx="2101340" cy="120442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78551" y="2133601"/>
            <a:ext cx="529113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15FBD6B-2193-5748-97C2-9D65081F3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78551" y="5584345"/>
            <a:ext cx="5297852" cy="414323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F18DBE1-9B92-D54B-A7D7-214D918E2C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8551" y="5998670"/>
            <a:ext cx="5297852" cy="321052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95217E5-E444-2F42-BDF3-093FC00C6F3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190F6A3-E932-A24A-9953-B1E4E911E0F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D10AF193-AB1A-43AD-A66E-2CD2F8674A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FB7BD70-621C-CC49-8746-9DC52C4D35B9}"/>
              </a:ext>
            </a:extLst>
          </p:cNvPr>
          <p:cNvSpPr txBox="1"/>
          <p:nvPr userDrawn="1"/>
        </p:nvSpPr>
        <p:spPr>
          <a:xfrm>
            <a:off x="6178550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41291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4A2CE8B-6C7B-204B-A553-FDFA7E79572A}"/>
              </a:ext>
            </a:extLst>
          </p:cNvPr>
          <p:cNvSpPr/>
          <p:nvPr userDrawn="1"/>
        </p:nvSpPr>
        <p:spPr>
          <a:xfrm>
            <a:off x="6120852" y="0"/>
            <a:ext cx="6071148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EE20A4-56CA-6E43-ADB3-9DCE7A1E5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2655" t="20588" r="1" b="52733"/>
          <a:stretch/>
        </p:blipFill>
        <p:spPr>
          <a:xfrm>
            <a:off x="6094088" y="0"/>
            <a:ext cx="6109382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2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508F250-2EEB-4943-96B7-BE0C29A50B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2E0827B-6C4F-7648-A12E-9F41C14AE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20D15AE-8D5B-1F4F-8BD1-2990633572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D079D76-E4BD-2D4D-B1D5-65D76184811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0C2DE4C0-ADB1-9043-9820-BFB73CFF1A3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C636DF12-45AE-4AC3-BCE8-67EFD22A6F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8" name="Graphic 10">
            <a:extLst>
              <a:ext uri="{FF2B5EF4-FFF2-40B4-BE49-F238E27FC236}">
                <a16:creationId xmlns:a16="http://schemas.microsoft.com/office/drawing/2014/main" id="{526FF24D-AF59-ED4F-9818-10A139444EF4}"/>
              </a:ext>
            </a:extLst>
          </p:cNvPr>
          <p:cNvGrpSpPr/>
          <p:nvPr userDrawn="1"/>
        </p:nvGrpSpPr>
        <p:grpSpPr>
          <a:xfrm>
            <a:off x="6362700" y="538163"/>
            <a:ext cx="2554288" cy="1464044"/>
            <a:chOff x="7355176" y="1247511"/>
            <a:chExt cx="2101340" cy="1204427"/>
          </a:xfrm>
        </p:grpSpPr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DAC17586-BD49-2B4B-9E87-06EDC1BCCFD0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154DE6BB-DC4F-3445-BADE-6D76CC839465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8F910D9-9A7F-3F44-B03C-E6ECB047A817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76348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23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CAF5AAA1-BBCB-40FE-8286-4581A3B984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23" name="Graphic 10">
            <a:extLst>
              <a:ext uri="{FF2B5EF4-FFF2-40B4-BE49-F238E27FC236}">
                <a16:creationId xmlns:a16="http://schemas.microsoft.com/office/drawing/2014/main" id="{5B7617CC-6FDB-EA47-A30B-F937416FF4A3}"/>
              </a:ext>
            </a:extLst>
          </p:cNvPr>
          <p:cNvGrpSpPr/>
          <p:nvPr userDrawn="1"/>
        </p:nvGrpSpPr>
        <p:grpSpPr>
          <a:xfrm>
            <a:off x="6362700" y="538163"/>
            <a:ext cx="2554288" cy="1464044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02DEC17-749A-5745-A3C8-8A951CB042CD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DCD6703-F5A1-2C43-8B04-5009508CED50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solidFill>
                  <a:srgbClr val="CDFFC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575823E-4AE2-E44E-AE42-22F39C52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78421" y="6027738"/>
            <a:ext cx="4891267" cy="315387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17E525C-8A92-6542-B9AF-1EE4C1D86C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421" y="2133601"/>
            <a:ext cx="4891268" cy="3201988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0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5BA675-54BD-2446-AC6B-564132E6194A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0A3F1FD-95F0-2948-9D5D-3521866F62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8421" y="5571495"/>
            <a:ext cx="4891267" cy="434001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446711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4A2CE8B-6C7B-204B-A553-FDFA7E79572A}"/>
              </a:ext>
            </a:extLst>
          </p:cNvPr>
          <p:cNvSpPr/>
          <p:nvPr userDrawn="1"/>
        </p:nvSpPr>
        <p:spPr>
          <a:xfrm>
            <a:off x="6120852" y="0"/>
            <a:ext cx="6071148" cy="68580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5EE20A4-56CA-6E43-ADB3-9DCE7A1E5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2655" t="20588" r="1" b="52733"/>
          <a:stretch/>
        </p:blipFill>
        <p:spPr>
          <a:xfrm>
            <a:off x="6094088" y="0"/>
            <a:ext cx="6109382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235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CD079D76-E4BD-2D4D-B1D5-65D76184811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0C2DE4C0-ADB1-9043-9820-BFB73CFF1A39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2A3EF89-F6E9-9840-89E6-BE9E0BFAA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4F3B5D7-63F6-45DB-9D4A-EC1359B26D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7733DFD-694E-F241-959B-4ECECFC79F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F1FFA8-2867-0248-8EF4-6A5194F83596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56403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296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23030AB-527D-41D3-A380-69546129EA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D344CE0-7DAB-974C-B074-078E7E3A1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5DD517E-D7CF-5244-9611-DFBB12E8B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CDCB1F-F122-444B-B4CB-C09A4C407C91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98277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 le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4872374-72A7-7A45-ABE4-B1FF923979E4}"/>
              </a:ext>
            </a:extLst>
          </p:cNvPr>
          <p:cNvSpPr/>
          <p:nvPr userDrawn="1"/>
        </p:nvSpPr>
        <p:spPr>
          <a:xfrm>
            <a:off x="6109382" y="0"/>
            <a:ext cx="6082618" cy="6858000"/>
          </a:xfrm>
          <a:prstGeom prst="rect">
            <a:avLst/>
          </a:prstGeom>
          <a:solidFill>
            <a:srgbClr val="7030A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296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26208EE9-BB53-7349-8881-495E3560D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4813" t="20149" r="-101" b="55188"/>
          <a:stretch/>
        </p:blipFill>
        <p:spPr>
          <a:xfrm>
            <a:off x="6109382" y="0"/>
            <a:ext cx="6112136" cy="6858000"/>
          </a:xfrm>
          <a:prstGeom prst="rect">
            <a:avLst/>
          </a:prstGeom>
        </p:spPr>
      </p:pic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FE70C55F-FA1C-E44F-B935-846720A2D1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938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E956ECD-98A7-BB48-AD4E-41CD7BA5A6A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341D0F29-2B64-464A-AF00-6DC7474EA211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5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7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23030AB-527D-41D3-A380-69546129EA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D344CE0-7DAB-974C-B074-078E7E3A1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278437" cy="1139825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5DD517E-D7CF-5244-9611-DFBB12E8B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CDCB1F-F122-444B-B4CB-C09A4C407C91}"/>
              </a:ext>
            </a:extLst>
          </p:cNvPr>
          <p:cNvSpPr txBox="1"/>
          <p:nvPr userDrawn="1"/>
        </p:nvSpPr>
        <p:spPr>
          <a:xfrm>
            <a:off x="6578421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07401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FED4F88-4F8F-456C-B545-1EA180BAE7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41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16280BD-A737-4168-AD03-8CFA3C9E78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7452" y="0"/>
            <a:ext cx="10984548" cy="6858000"/>
          </a:xfrm>
          <a:custGeom>
            <a:avLst/>
            <a:gdLst>
              <a:gd name="connsiteX0" fmla="*/ 0 w 10984548"/>
              <a:gd name="connsiteY0" fmla="*/ 0 h 6851650"/>
              <a:gd name="connsiteX1" fmla="*/ 6617336 w 10984548"/>
              <a:gd name="connsiteY1" fmla="*/ 0 h 6851650"/>
              <a:gd name="connsiteX2" fmla="*/ 10717848 w 10984548"/>
              <a:gd name="connsiteY2" fmla="*/ 0 h 6851650"/>
              <a:gd name="connsiteX3" fmla="*/ 10961688 w 10984548"/>
              <a:gd name="connsiteY3" fmla="*/ 0 h 6851650"/>
              <a:gd name="connsiteX4" fmla="*/ 10984548 w 10984548"/>
              <a:gd name="connsiteY4" fmla="*/ 0 h 6851650"/>
              <a:gd name="connsiteX5" fmla="*/ 10984548 w 10984548"/>
              <a:gd name="connsiteY5" fmla="*/ 2921000 h 6851650"/>
              <a:gd name="connsiteX6" fmla="*/ 10984548 w 10984548"/>
              <a:gd name="connsiteY6" fmla="*/ 6851650 h 6851650"/>
              <a:gd name="connsiteX7" fmla="*/ 10961688 w 10984548"/>
              <a:gd name="connsiteY7" fmla="*/ 6851650 h 6851650"/>
              <a:gd name="connsiteX8" fmla="*/ 10717848 w 10984548"/>
              <a:gd name="connsiteY8" fmla="*/ 6851650 h 6851650"/>
              <a:gd name="connsiteX9" fmla="*/ 10529888 w 10984548"/>
              <a:gd name="connsiteY9" fmla="*/ 6851650 h 6851650"/>
              <a:gd name="connsiteX10" fmla="*/ 10529888 w 10984548"/>
              <a:gd name="connsiteY10" fmla="*/ 6270625 h 6851650"/>
              <a:gd name="connsiteX11" fmla="*/ 10529888 w 10984548"/>
              <a:gd name="connsiteY11" fmla="*/ 6238875 h 6851650"/>
              <a:gd name="connsiteX12" fmla="*/ 10523538 w 10984548"/>
              <a:gd name="connsiteY12" fmla="*/ 6203950 h 6851650"/>
              <a:gd name="connsiteX13" fmla="*/ 10514013 w 10984548"/>
              <a:gd name="connsiteY13" fmla="*/ 6172200 h 6851650"/>
              <a:gd name="connsiteX14" fmla="*/ 10501313 w 10984548"/>
              <a:gd name="connsiteY14" fmla="*/ 6140450 h 6851650"/>
              <a:gd name="connsiteX15" fmla="*/ 10479088 w 10984548"/>
              <a:gd name="connsiteY15" fmla="*/ 6099175 h 6851650"/>
              <a:gd name="connsiteX16" fmla="*/ 10453688 w 10984548"/>
              <a:gd name="connsiteY16" fmla="*/ 6061075 h 6851650"/>
              <a:gd name="connsiteX17" fmla="*/ 10421938 w 10984548"/>
              <a:gd name="connsiteY17" fmla="*/ 6029325 h 6851650"/>
              <a:gd name="connsiteX18" fmla="*/ 10387013 w 10984548"/>
              <a:gd name="connsiteY18" fmla="*/ 6000750 h 6851650"/>
              <a:gd name="connsiteX19" fmla="*/ 10347325 w 10984548"/>
              <a:gd name="connsiteY19" fmla="*/ 5975350 h 6851650"/>
              <a:gd name="connsiteX20" fmla="*/ 10309225 w 10984548"/>
              <a:gd name="connsiteY20" fmla="*/ 5949950 h 6851650"/>
              <a:gd name="connsiteX21" fmla="*/ 10226675 w 10984548"/>
              <a:gd name="connsiteY21" fmla="*/ 5902325 h 685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84548" h="6851650">
                <a:moveTo>
                  <a:pt x="0" y="0"/>
                </a:moveTo>
                <a:lnTo>
                  <a:pt x="6617336" y="0"/>
                </a:lnTo>
                <a:lnTo>
                  <a:pt x="10717848" y="0"/>
                </a:lnTo>
                <a:lnTo>
                  <a:pt x="10961688" y="0"/>
                </a:lnTo>
                <a:lnTo>
                  <a:pt x="10984548" y="0"/>
                </a:lnTo>
                <a:lnTo>
                  <a:pt x="10984548" y="2921000"/>
                </a:lnTo>
                <a:lnTo>
                  <a:pt x="10984548" y="6851650"/>
                </a:lnTo>
                <a:lnTo>
                  <a:pt x="10961688" y="6851650"/>
                </a:lnTo>
                <a:lnTo>
                  <a:pt x="10717848" y="6851650"/>
                </a:lnTo>
                <a:lnTo>
                  <a:pt x="10529888" y="6851650"/>
                </a:lnTo>
                <a:lnTo>
                  <a:pt x="10529888" y="6270625"/>
                </a:lnTo>
                <a:lnTo>
                  <a:pt x="10529888" y="6238875"/>
                </a:lnTo>
                <a:lnTo>
                  <a:pt x="10523538" y="6203950"/>
                </a:lnTo>
                <a:lnTo>
                  <a:pt x="10514013" y="6172200"/>
                </a:lnTo>
                <a:lnTo>
                  <a:pt x="10501313" y="6140450"/>
                </a:lnTo>
                <a:lnTo>
                  <a:pt x="10479088" y="6099175"/>
                </a:lnTo>
                <a:lnTo>
                  <a:pt x="10453688" y="6061075"/>
                </a:lnTo>
                <a:lnTo>
                  <a:pt x="10421938" y="6029325"/>
                </a:lnTo>
                <a:lnTo>
                  <a:pt x="10387013" y="6000750"/>
                </a:lnTo>
                <a:lnTo>
                  <a:pt x="10347325" y="5975350"/>
                </a:lnTo>
                <a:lnTo>
                  <a:pt x="10309225" y="5949950"/>
                </a:lnTo>
                <a:lnTo>
                  <a:pt x="10226675" y="5902325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0" indent="0" algn="r">
              <a:buNone/>
              <a:defRPr lang="id-ID" b="1" dirty="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US"/>
              <a:t>Click icon to add picture</a:t>
            </a:r>
            <a:endParaRPr lang="id-ID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2615BD2-DBC2-4343-8DF8-9969F28A3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B967D1A-E798-264D-B1A3-AC4BE60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Headline Up to</a:t>
            </a:r>
            <a:br>
              <a:rPr lang="en-GB"/>
            </a:br>
            <a:r>
              <a:rPr lang="en-GB"/>
              <a:t>Three </a:t>
            </a:r>
            <a:br>
              <a:rPr lang="en-GB"/>
            </a:br>
            <a:r>
              <a:rPr lang="en-GB"/>
              <a:t>Lines</a:t>
            </a:r>
            <a:endParaRPr lang="en-BG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473BAE51-FD0F-4746-8109-F3B14362DD28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996972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51A2CE-B018-1047-87F9-DBEAEB88FD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9505D2F-6538-C844-974A-0A2C06BA15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9936" t="68338" r="8601" b="650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005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aphic 10">
            <a:extLst>
              <a:ext uri="{FF2B5EF4-FFF2-40B4-BE49-F238E27FC236}">
                <a16:creationId xmlns:a16="http://schemas.microsoft.com/office/drawing/2014/main" id="{3A6E4564-0AFD-394C-86C5-9468022082D4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E94DD7A-9189-4548-B3D7-D71AED474814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DEC9423-D3E3-AC4E-8565-1B8DA4881327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5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589BE5-6A57-8F4D-9D8C-C52E1A566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EFA5E5E-DAAF-014E-B8B4-967C914D4F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552D3A5-C740-6E4E-BBFD-2D16D91FA3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BC718B7-D1C8-234E-8499-E213D028B6F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5A2CA354-3C09-41EB-90E3-8AB6A45C06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49EAEB3-1467-7E47-B524-839C5033BB34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99317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9615A0-0E38-EA4B-A4CD-971B0012D7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58E1F70-633B-1741-81E2-FC0B0A5EBB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9758" t="68961" r="9798" b="6376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1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9" imgH="349" progId="TCLayout.ActiveDocument.1">
                  <p:embed/>
                </p:oleObj>
              </mc:Choice>
              <mc:Fallback>
                <p:oleObj name="think-cell Slide" r:id="rId5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F1C15D-96CD-B54C-9B65-84F58E5EFB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7FCBF96B-146F-4F56-AC3D-EB12817277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grpSp>
        <p:nvGrpSpPr>
          <p:cNvPr id="16" name="Graphic 10">
            <a:extLst>
              <a:ext uri="{FF2B5EF4-FFF2-40B4-BE49-F238E27FC236}">
                <a16:creationId xmlns:a16="http://schemas.microsoft.com/office/drawing/2014/main" id="{932DF292-4833-B247-953B-D4EA83227C77}"/>
              </a:ext>
            </a:extLst>
          </p:cNvPr>
          <p:cNvGrpSpPr/>
          <p:nvPr userDrawn="1"/>
        </p:nvGrpSpPr>
        <p:grpSpPr>
          <a:xfrm>
            <a:off x="757914" y="758595"/>
            <a:ext cx="2493286" cy="1429079"/>
            <a:chOff x="7355176" y="1247511"/>
            <a:chExt cx="2101340" cy="1204427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75D57D39-0B16-A64B-8443-72A68E313FB5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FD022E-5944-DA47-BE61-7F1690CE160F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rgbClr val="CDFFCA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33391C7-8702-8C41-B01E-D2B011065E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698" y="2351624"/>
            <a:ext cx="9643800" cy="1825012"/>
          </a:xfrm>
        </p:spPr>
        <p:txBody>
          <a:bodyPr tIns="108000"/>
          <a:lstStyle>
            <a:lvl1pPr marL="0" indent="0">
              <a:lnSpc>
                <a:spcPts val="3600"/>
              </a:lnSpc>
              <a:buNone/>
              <a:defRPr sz="4400" b="1" spc="-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Slide, Enter Quote Here.”</a:t>
            </a:r>
          </a:p>
          <a:p>
            <a:pPr lvl="0"/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3CE5176-45CA-FA49-B95F-C93300B5B0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06699" y="4670326"/>
            <a:ext cx="4694052" cy="346934"/>
          </a:xfrm>
        </p:spPr>
        <p:txBody>
          <a:bodyPr tIns="36000" anchor="ctr" anchorCtr="0">
            <a:noAutofit/>
          </a:bodyPr>
          <a:lstStyle>
            <a:lvl1pPr marL="0" indent="0" algn="l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B114C84-0226-6C4B-A9B5-4A50F19EA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699" y="5072956"/>
            <a:ext cx="4694052" cy="318328"/>
          </a:xfrm>
        </p:spPr>
        <p:txBody>
          <a:bodyPr tIns="72000" anchor="t">
            <a:noAutofit/>
          </a:bodyPr>
          <a:lstStyle>
            <a:lvl1pPr marL="0" indent="0" algn="l">
              <a:lnSpc>
                <a:spcPts val="1800"/>
              </a:lnSpc>
              <a:buNone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570969-DADA-9F43-A66C-7A2FAD252773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53991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quot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F9976DBB-EE70-1B46-926A-70F0623AC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802" y="2088996"/>
            <a:ext cx="5262948" cy="3907915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ts val="2700"/>
              </a:lnSpc>
              <a:buFontTx/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11074453-7ED4-2846-8443-BD0B4F3FA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8550" y="3009747"/>
            <a:ext cx="5291138" cy="2974808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ts val="2700"/>
              </a:lnSpc>
              <a:buFontTx/>
              <a:buNone/>
              <a:defRPr sz="2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Quote Text Here</a:t>
            </a:r>
            <a:endParaRPr lang="en-BG"/>
          </a:p>
        </p:txBody>
      </p:sp>
      <p:grpSp>
        <p:nvGrpSpPr>
          <p:cNvPr id="6" name="Graphic 10">
            <a:extLst>
              <a:ext uri="{FF2B5EF4-FFF2-40B4-BE49-F238E27FC236}">
                <a16:creationId xmlns:a16="http://schemas.microsoft.com/office/drawing/2014/main" id="{BB169313-042B-E748-B6D1-611F7EE63DB2}"/>
              </a:ext>
            </a:extLst>
          </p:cNvPr>
          <p:cNvGrpSpPr/>
          <p:nvPr userDrawn="1"/>
        </p:nvGrpSpPr>
        <p:grpSpPr>
          <a:xfrm>
            <a:off x="6175766" y="1371600"/>
            <a:ext cx="2531487" cy="1450975"/>
            <a:chOff x="7355176" y="1247511"/>
            <a:chExt cx="2101340" cy="1204427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559F61B-590D-7D40-9809-20BFA3E0EEE8}"/>
                </a:ext>
              </a:extLst>
            </p:cNvPr>
            <p:cNvSpPr/>
            <p:nvPr/>
          </p:nvSpPr>
          <p:spPr>
            <a:xfrm>
              <a:off x="7352293" y="1247383"/>
              <a:ext cx="999261" cy="1205383"/>
            </a:xfrm>
            <a:custGeom>
              <a:avLst/>
              <a:gdLst>
                <a:gd name="connsiteX0" fmla="*/ 501072 w 999261"/>
                <a:gd name="connsiteY0" fmla="*/ 128 h 1205383"/>
                <a:gd name="connsiteX1" fmla="*/ 9 w 999261"/>
                <a:gd name="connsiteY1" fmla="*/ 494325 h 1205383"/>
                <a:gd name="connsiteX2" fmla="*/ 495324 w 999261"/>
                <a:gd name="connsiteY2" fmla="*/ 994258 h 1205383"/>
                <a:gd name="connsiteX3" fmla="*/ 495324 w 999261"/>
                <a:gd name="connsiteY3" fmla="*/ 1205383 h 1205383"/>
                <a:gd name="connsiteX4" fmla="*/ 838884 w 999261"/>
                <a:gd name="connsiteY4" fmla="*/ 862408 h 1205383"/>
                <a:gd name="connsiteX5" fmla="*/ 867242 w 999261"/>
                <a:gd name="connsiteY5" fmla="*/ 160023 h 1205383"/>
                <a:gd name="connsiteX6" fmla="*/ 501072 w 999261"/>
                <a:gd name="connsiteY6" fmla="*/ 0 h 12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261" h="1205383">
                  <a:moveTo>
                    <a:pt x="501072" y="128"/>
                  </a:moveTo>
                  <a:cubicBezTo>
                    <a:pt x="225931" y="-1459"/>
                    <a:pt x="1599" y="219805"/>
                    <a:pt x="9" y="494325"/>
                  </a:cubicBezTo>
                  <a:cubicBezTo>
                    <a:pt x="-1582" y="768845"/>
                    <a:pt x="220183" y="992671"/>
                    <a:pt x="495324" y="994258"/>
                  </a:cubicBezTo>
                  <a:lnTo>
                    <a:pt x="495324" y="1205383"/>
                  </a:lnTo>
                  <a:lnTo>
                    <a:pt x="838884" y="862408"/>
                  </a:lnTo>
                  <a:cubicBezTo>
                    <a:pt x="1041098" y="676263"/>
                    <a:pt x="1053808" y="361793"/>
                    <a:pt x="867242" y="160023"/>
                  </a:cubicBezTo>
                  <a:cubicBezTo>
                    <a:pt x="772905" y="58016"/>
                    <a:pt x="640170" y="0"/>
                    <a:pt x="501072" y="0"/>
                  </a:cubicBezTo>
                  <a:close/>
                </a:path>
              </a:pathLst>
            </a:custGeom>
            <a:solidFill>
              <a:schemeClr val="accent6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992E75D-A512-384C-9E90-FC19625012E8}"/>
                </a:ext>
              </a:extLst>
            </p:cNvPr>
            <p:cNvSpPr/>
            <p:nvPr/>
          </p:nvSpPr>
          <p:spPr>
            <a:xfrm>
              <a:off x="8460710" y="1247606"/>
              <a:ext cx="996380" cy="1205223"/>
            </a:xfrm>
            <a:custGeom>
              <a:avLst/>
              <a:gdLst>
                <a:gd name="connsiteX0" fmla="*/ 996380 w 996380"/>
                <a:gd name="connsiteY0" fmla="*/ 497033 h 1205223"/>
                <a:gd name="connsiteX1" fmla="*/ 498126 w 996380"/>
                <a:gd name="connsiteY1" fmla="*/ 0 h 1205223"/>
                <a:gd name="connsiteX2" fmla="*/ 0 w 996380"/>
                <a:gd name="connsiteY2" fmla="*/ 497103 h 1205223"/>
                <a:gd name="connsiteX3" fmla="*/ 492378 w 996380"/>
                <a:gd name="connsiteY3" fmla="*/ 994098 h 1205223"/>
                <a:gd name="connsiteX4" fmla="*/ 492378 w 996380"/>
                <a:gd name="connsiteY4" fmla="*/ 1205224 h 1205223"/>
                <a:gd name="connsiteX5" fmla="*/ 836001 w 996380"/>
                <a:gd name="connsiteY5" fmla="*/ 862440 h 1205223"/>
                <a:gd name="connsiteX6" fmla="*/ 996380 w 996380"/>
                <a:gd name="connsiteY6" fmla="*/ 497033 h 120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380" h="1205223">
                  <a:moveTo>
                    <a:pt x="996380" y="497033"/>
                  </a:moveTo>
                  <a:cubicBezTo>
                    <a:pt x="996380" y="222513"/>
                    <a:pt x="773280" y="-19"/>
                    <a:pt x="498126" y="0"/>
                  </a:cubicBezTo>
                  <a:cubicBezTo>
                    <a:pt x="223036" y="19"/>
                    <a:pt x="0" y="222577"/>
                    <a:pt x="0" y="497103"/>
                  </a:cubicBezTo>
                  <a:cubicBezTo>
                    <a:pt x="0" y="769348"/>
                    <a:pt x="219523" y="990925"/>
                    <a:pt x="492378" y="994098"/>
                  </a:cubicBezTo>
                  <a:lnTo>
                    <a:pt x="492378" y="1205224"/>
                  </a:lnTo>
                  <a:lnTo>
                    <a:pt x="836001" y="862440"/>
                  </a:lnTo>
                  <a:cubicBezTo>
                    <a:pt x="938386" y="768399"/>
                    <a:pt x="996508" y="635861"/>
                    <a:pt x="996380" y="497033"/>
                  </a:cubicBezTo>
                  <a:close/>
                </a:path>
              </a:pathLst>
            </a:custGeom>
            <a:solidFill>
              <a:schemeClr val="accent6"/>
            </a:solidFill>
            <a:ln w="63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B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18AF90E1-EE23-0941-9333-3F5BC5F048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4"/>
            <a:ext cx="5278437" cy="13700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>
              <a:lnSpc>
                <a:spcPts val="3600"/>
              </a:lnSpc>
              <a:defRPr lang="en-US" sz="4000" b="1" i="0" kern="0" spc="-100" baseline="0" noProof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Headline / Body Text</a:t>
            </a:r>
            <a:br>
              <a:rPr lang="en-US"/>
            </a:br>
            <a:r>
              <a:rPr lang="en-US"/>
              <a:t>&amp; Quote</a:t>
            </a:r>
          </a:p>
        </p:txBody>
      </p:sp>
    </p:spTree>
    <p:extLst>
      <p:ext uri="{BB962C8B-B14F-4D97-AF65-F5344CB8AC3E}">
        <p14:creationId xmlns:p14="http://schemas.microsoft.com/office/powerpoint/2010/main" val="3293065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79DEE5-21BE-4808-BA4C-CB06842D7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813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79DEE5-21BE-4808-BA4C-CB06842D7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394358EC-73B1-7346-9DD7-A7EA513071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36" t="63658" r="69121" b="5698"/>
          <a:stretch/>
        </p:blipFill>
        <p:spPr>
          <a:xfrm>
            <a:off x="7742498" y="0"/>
            <a:ext cx="4449502" cy="50577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D3C179-3A96-4AF2-8537-E4515FA2F2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600" y="538163"/>
            <a:ext cx="5277150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3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2E99C1D-FECF-1A48-9EF7-1B84A71BCB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524345"/>
            <a:ext cx="252888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A5EF1190-5546-9344-8150-9CFE9B58C8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2915975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16A0B128-769D-D245-8408-26CCA207BC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2915975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5E8F70FE-71F1-1049-9CF2-2848562EF1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2915975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3C19AD2-A4A1-4544-935C-AFEE661EF76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524344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07DDF4F-EBAE-AE44-900E-77CE0CF9BA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532376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0169013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25A317-569A-41B3-A3AE-1CBF90C53E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45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25A317-569A-41B3-A3AE-1CBF90C53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EE74F99-8271-C34E-885E-3E090017D8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3524345"/>
            <a:ext cx="252888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21594E-7484-5E47-8564-98DE9C29C2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2915975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B1B99D54-15E5-9A44-BD9F-CDC7FA006D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52813" y="2915975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56CB44F-A428-A24E-9FD6-03C902B8CB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78232" y="2915975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4ADD9F6F-04EC-3548-89ED-07083CA31F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16988" y="2915975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59572E56-7E01-9B4B-A25B-1F1656B06D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52813" y="3524344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26BD833-CFF8-F541-92F8-E3D36BA6D4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83998" y="3532376"/>
            <a:ext cx="2547937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57862449-EC25-604D-A3A7-CE54B56335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16988" y="3524343"/>
            <a:ext cx="2552699" cy="2618789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42960B-5CFE-4CCC-8A7C-819AB126A4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4"/>
            <a:ext cx="10746087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4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8318801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tems list with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AF44F5-3F68-4F5B-A7E5-CC271941F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50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AF44F5-3F68-4F5B-A7E5-CC271941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FC8C7E7-A516-41B5-9F14-435519410B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1537"/>
            <a:ext cx="10746087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4 Items / Features </a:t>
            </a:r>
            <a:br>
              <a:rPr lang="en-US"/>
            </a:br>
            <a:r>
              <a:rPr lang="en-US"/>
              <a:t>Illustrated Bullet List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6097E424-2284-1C45-8664-943C177594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2313" y="3525740"/>
            <a:ext cx="2528887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79C50273-100C-4E43-9758-9D2E2EA174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2313" y="2923268"/>
            <a:ext cx="252888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1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C741B5D-9CA8-0246-A540-76E015AE20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2813" y="2923268"/>
            <a:ext cx="2547937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2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04D2873D-9B96-D247-ADF5-8D2C81C5EB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78232" y="2923268"/>
            <a:ext cx="2554605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3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96525B51-4D86-3248-877C-36E8C202176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2923268"/>
            <a:ext cx="2552700" cy="461963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00D3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Item 4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98DF9A9E-978E-6D43-8349-0D66C40F2FC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52813" y="3525740"/>
            <a:ext cx="2547937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451DF4D2-96D5-2345-BF90-56F6C36D8C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83998" y="3525740"/>
            <a:ext cx="2547937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4D5AADC-0189-FA4C-86D9-96588C326A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16988" y="3525740"/>
            <a:ext cx="2552699" cy="2720975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4527114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tem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E63340-CFC6-4DE4-A808-EF24C62FF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36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E63340-CFC6-4DE4-A808-EF24C62FF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466CBF-EFEB-BF4E-8EF1-DA6DA515F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3741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D5DD337E-FCEB-8848-9F17-4A7948DB8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3741" y="2037104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02B59A1-B3EF-2645-B49B-4D774FF780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3741" y="4328800"/>
            <a:ext cx="2627733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76935810-7504-4B45-83F9-2E99FFE8E0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6627" y="2037104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AB2FAA5E-B4A1-764E-B89C-0F89E86576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86627" y="4328800"/>
            <a:ext cx="2634018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rgbClr val="5122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580FC978-AF1C-5244-BA36-D990852E29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0896" y="2037104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5DB8FC56-8E45-B642-BA86-CA674617E8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40896" y="4328800"/>
            <a:ext cx="2628792" cy="416859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2400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Feature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F4FDECCA-8BA0-1E46-959C-40D405A3DD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86627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1D615094-1A97-4D44-963D-B6646A38C7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0896" y="2624943"/>
            <a:ext cx="2627733" cy="1332541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C0DC2E1-3303-ED4F-AF0A-C83B26F853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3741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234F23D-C765-1C43-8BE8-B63E9013F0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6627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8C0BF57-A485-B741-AAB8-63E6E654704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0896" y="4923617"/>
            <a:ext cx="2627733" cy="1396220"/>
          </a:xfrm>
          <a:prstGeom prst="rect">
            <a:avLst/>
          </a:prstGeom>
        </p:spPr>
        <p:txBody>
          <a:bodyPr tIns="36000"/>
          <a:lstStyle>
            <a:lvl1pPr marL="0" indent="0">
              <a:lnSpc>
                <a:spcPct val="100000"/>
              </a:lnSpc>
              <a:buFontTx/>
              <a:buNone/>
              <a:defRPr sz="20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xample Text</a:t>
            </a:r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F33FF-9B6D-41BF-97A6-EF8D86B8B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99" y="538163"/>
            <a:ext cx="10745029" cy="137001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6 Items / Features Illustrated Bullet List</a:t>
            </a:r>
          </a:p>
        </p:txBody>
      </p:sp>
    </p:spTree>
    <p:extLst>
      <p:ext uri="{BB962C8B-B14F-4D97-AF65-F5344CB8AC3E}">
        <p14:creationId xmlns:p14="http://schemas.microsoft.com/office/powerpoint/2010/main" val="22288804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EC62F6-95F3-EF43-9346-3E168880B4FF}"/>
              </a:ext>
            </a:extLst>
          </p:cNvPr>
          <p:cNvSpPr/>
          <p:nvPr userDrawn="1"/>
        </p:nvSpPr>
        <p:spPr>
          <a:xfrm>
            <a:off x="0" y="-1990"/>
            <a:ext cx="12192000" cy="1679978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E6441CC9-6AC1-4035-9BC4-BDF048D1E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65"/>
          <a:stretch/>
        </p:blipFill>
        <p:spPr>
          <a:xfrm>
            <a:off x="0" y="0"/>
            <a:ext cx="12192000" cy="1677988"/>
          </a:xfrm>
          <a:prstGeom prst="rect">
            <a:avLst/>
          </a:prstGeom>
        </p:spPr>
      </p:pic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9F0AE9B3-026B-AC45-B378-4E7D4A063D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683F232C-00AB-6F4D-A5B4-C4B0CB1874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1</a:t>
            </a:r>
          </a:p>
        </p:txBody>
      </p:sp>
      <p:sp>
        <p:nvSpPr>
          <p:cNvPr id="34" name="Picture Placeholder 1">
            <a:extLst>
              <a:ext uri="{FF2B5EF4-FFF2-40B4-BE49-F238E27FC236}">
                <a16:creationId xmlns:a16="http://schemas.microsoft.com/office/drawing/2014/main" id="{CA3015F1-BAB4-1F4C-B181-CBFA2D7E7B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609CF4-24AF-E743-B42C-A59B73664181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94BF50F9-DFCC-104B-98F5-B6944BB6186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D150FA14-0936-DB45-99B3-1FDE250329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2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4DAE994E-61C7-F843-99A7-D08D2A1DAD4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6D061C1C-2480-7C45-9198-00064784151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3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C030B60D-3B29-7F43-A48B-809DF02EE93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35C3F06D-45B7-6D48-B4D3-D9BA24DD499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4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8F34310-4CB9-974D-814E-3A8A1EACC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ts val="36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Team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6C685FB3-0594-E44D-9C2D-EEFCC1F8D2E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E7BCD6F9-B8A0-3E40-8E91-435E8E4F7E36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8" name="Picture Placeholder 1">
            <a:extLst>
              <a:ext uri="{FF2B5EF4-FFF2-40B4-BE49-F238E27FC236}">
                <a16:creationId xmlns:a16="http://schemas.microsoft.com/office/drawing/2014/main" id="{DF915852-F139-C84F-A6C2-A2EF5EAF75F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8397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A364C0F-A4D3-DC42-8C95-4B00E26A0812}"/>
              </a:ext>
            </a:extLst>
          </p:cNvPr>
          <p:cNvSpPr/>
          <p:nvPr userDrawn="1"/>
        </p:nvSpPr>
        <p:spPr>
          <a:xfrm>
            <a:off x="0" y="0"/>
            <a:ext cx="12192000" cy="1677987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Shape, square&#10;&#10;Description automatically generated">
            <a:extLst>
              <a:ext uri="{FF2B5EF4-FFF2-40B4-BE49-F238E27FC236}">
                <a16:creationId xmlns:a16="http://schemas.microsoft.com/office/drawing/2014/main" id="{4B022A70-9734-423F-8439-201D9114D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65"/>
          <a:stretch/>
        </p:blipFill>
        <p:spPr>
          <a:xfrm>
            <a:off x="0" y="0"/>
            <a:ext cx="12192000" cy="1677988"/>
          </a:xfrm>
          <a:prstGeom prst="rect">
            <a:avLst/>
          </a:prstGeom>
        </p:spPr>
      </p:pic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90CBC2F-2FE6-E849-A23E-6624002BB1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5162992"/>
            <a:ext cx="2526055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EF25CF4-59B3-BE42-81BA-5E4620736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4651970"/>
            <a:ext cx="2526055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35FD64-44C1-0E48-B5ED-A66844CC2EA7}"/>
              </a:ext>
            </a:extLst>
          </p:cNvPr>
          <p:cNvSpPr txBox="1"/>
          <p:nvPr userDrawn="1"/>
        </p:nvSpPr>
        <p:spPr>
          <a:xfrm>
            <a:off x="1742303" y="4893276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/>
            <a:endParaRPr lang="en-BG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70B6830F-8A50-3147-B040-0115CA5BF87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3156" y="5162992"/>
            <a:ext cx="2547594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FC91BA71-069A-8F4D-80E2-C8697BB423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3156" y="4651970"/>
            <a:ext cx="2547594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2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05787F03-F6FF-FC4D-9ED1-40A7F50C89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000" y="5162992"/>
            <a:ext cx="2548838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5616BBF2-7973-DE49-9FF2-B67B2FF84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84000" y="4651970"/>
            <a:ext cx="2548838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3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6AD7FE0B-1E24-264D-AA5F-C85BAFD01D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916988" y="5162992"/>
            <a:ext cx="2552700" cy="864746"/>
          </a:xfrm>
          <a:prstGeom prst="rect">
            <a:avLst/>
          </a:prstGeom>
        </p:spPr>
        <p:txBody>
          <a:bodyPr tIns="36000"/>
          <a:lstStyle>
            <a:lvl1pPr marL="0" indent="0" algn="ctr">
              <a:lnSpc>
                <a:spcPts val="1800"/>
              </a:lnSpc>
              <a:buFontTx/>
              <a:buNone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Position</a:t>
            </a:r>
            <a:endParaRPr lang="en-BG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FE495FE2-22D3-FB42-AF76-F86CF0F945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16988" y="4651970"/>
            <a:ext cx="2552700" cy="461594"/>
          </a:xfrm>
          <a:prstGeom prst="rect">
            <a:avLst/>
          </a:prstGeom>
        </p:spPr>
        <p:txBody>
          <a:bodyPr tIns="72000" anchor="ctr" anchorCtr="0"/>
          <a:lstStyle>
            <a:lvl1pPr marL="0" indent="0" algn="ctr">
              <a:lnSpc>
                <a:spcPts val="1800"/>
              </a:lnSpc>
              <a:buFontTx/>
              <a:buNone/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49" indent="0">
              <a:buFontTx/>
              <a:buNone/>
              <a:defRPr sz="2400">
                <a:latin typeface="Arial" panose="020B0503030202060203" pitchFamily="34" charset="77"/>
              </a:defRPr>
            </a:lvl2pPr>
            <a:lvl3pPr marL="913897" indent="0">
              <a:buFontTx/>
              <a:buNone/>
              <a:defRPr sz="2400">
                <a:latin typeface="Arial" panose="020B0503030202060203" pitchFamily="34" charset="77"/>
              </a:defRPr>
            </a:lvl3pPr>
            <a:lvl4pPr marL="1370846" indent="0">
              <a:buFontTx/>
              <a:buNone/>
              <a:defRPr sz="2400">
                <a:latin typeface="Arial" panose="020B0503030202060203" pitchFamily="34" charset="77"/>
              </a:defRPr>
            </a:lvl4pPr>
            <a:lvl5pPr marL="1827795" indent="0">
              <a:buFontTx/>
              <a:buNone/>
              <a:defRPr sz="2400">
                <a:latin typeface="Arial" panose="020B0503030202060203" pitchFamily="34" charset="77"/>
              </a:defRPr>
            </a:lvl5pPr>
          </a:lstStyle>
          <a:p>
            <a:pPr lvl="0"/>
            <a:r>
              <a:rPr lang="en-GB"/>
              <a:t>Name 4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0331D3FB-3327-7240-B6AA-7B62FBBF4CF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3134" y="2355867"/>
            <a:ext cx="2062128" cy="2062128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0" name="Picture Placeholder 1">
            <a:extLst>
              <a:ext uri="{FF2B5EF4-FFF2-40B4-BE49-F238E27FC236}">
                <a16:creationId xmlns:a16="http://schemas.microsoft.com/office/drawing/2014/main" id="{C95E4137-4213-BE4A-9909-08534641CCE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94831" y="2355867"/>
            <a:ext cx="2062127" cy="2062127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5FCAAEDD-145E-714F-8193-C07FFCB234C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35044" y="2344391"/>
            <a:ext cx="2073604" cy="2073604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21AE5383-EC13-FE4D-996B-BE10161B015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9157330" y="2344391"/>
            <a:ext cx="2073603" cy="2073603"/>
          </a:xfrm>
          <a:prstGeom prst="ellipse">
            <a:avLst/>
          </a:prstGeom>
          <a:solidFill>
            <a:srgbClr val="DDE9F7"/>
          </a:solidFill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r-HR"/>
              <a:t>Picture</a:t>
            </a:r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17A4870-A345-AB4C-A5EA-F85DC0A3B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782" y="574918"/>
            <a:ext cx="5278437" cy="684212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algn="ctr">
              <a:lnSpc>
                <a:spcPts val="3600"/>
              </a:lnSpc>
              <a:defRPr lang="en-US" sz="4000" b="1" i="0" kern="0" spc="-100" baseline="0" noProof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41930359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600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B7890FB8-2450-AF47-8169-9C8D93F61A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66419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12144" y="1447799"/>
            <a:ext cx="3459162" cy="228917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EC4521C-3907-8345-BCE7-B2B57F767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313" y="538163"/>
            <a:ext cx="10748993" cy="677861"/>
          </a:xfrm>
        </p:spPr>
        <p:txBody>
          <a:bodyPr tIns="108000"/>
          <a:lstStyle/>
          <a:p>
            <a:r>
              <a:rPr lang="en-GB"/>
              <a:t>Gallery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64644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1724D4-36EF-F249-838C-3689608AF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FED4F88-4F8F-456C-B545-1EA180BAE7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63375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8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42615BD2-DBC2-4343-8DF8-9969F28A3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315" y="3272915"/>
            <a:ext cx="1342800" cy="31147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B967D1A-E798-264D-B1A3-AC4BE60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641" y="3736975"/>
            <a:ext cx="5261778" cy="1383817"/>
          </a:xfrm>
          <a:prstGeom prst="rect">
            <a:avLst/>
          </a:prstGeom>
        </p:spPr>
        <p:txBody>
          <a:bodyPr vert="horz" lIns="0" tIns="108000" rIns="0" bIns="0" anchor="t" anchorCtr="0">
            <a:noAutofit/>
          </a:bodyPr>
          <a:lstStyle>
            <a:lvl1pPr>
              <a:lnSpc>
                <a:spcPts val="36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Headline Up to</a:t>
            </a:r>
            <a:br>
              <a:rPr lang="en-GB"/>
            </a:br>
            <a:r>
              <a:rPr lang="en-GB"/>
              <a:t>Three </a:t>
            </a:r>
            <a:br>
              <a:rPr lang="en-GB"/>
            </a:br>
            <a:r>
              <a:rPr lang="en-GB"/>
              <a:t>Lines</a:t>
            </a:r>
            <a:endParaRPr lang="en-BG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7C3FF833-110B-2842-8181-E026C0AE747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2312" y="5273378"/>
            <a:ext cx="5278437" cy="441487"/>
          </a:xfrm>
          <a:prstGeom prst="rect">
            <a:avLst/>
          </a:prstGeom>
          <a:ln algn="ctr"/>
        </p:spPr>
        <p:txBody>
          <a:bodyPr lIns="0" tIns="0" rIns="0" bIns="0" anchor="ctr" anchorCtr="0"/>
          <a:lstStyle>
            <a:lvl1pPr marL="0" indent="0">
              <a:buClrTx/>
              <a:buFontTx/>
              <a:buNone/>
              <a:defRPr sz="2400" i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311225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880A557-7E11-DF49-8186-7D04ACC752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3599" y="540592"/>
            <a:ext cx="5277151" cy="319638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1EB8CBC-CB7B-C44C-95E3-E1FED843D5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3600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C37F377-AED4-8643-ABAC-55E992161DA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6419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4E77DCE-0609-D747-AD06-96FFA6F1B7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12144" y="3968749"/>
            <a:ext cx="3459162" cy="2268539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ECD3F542-BAEB-BF43-8CC7-6AE1B6CD7B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6249" y="540592"/>
            <a:ext cx="5285057" cy="319638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7062002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7D44DAC-CC6B-0F46-B9C2-4D41210383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74953" y="538162"/>
            <a:ext cx="7994735" cy="570071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BB0AAA-8E52-7C4C-BDDE-3224E5B3F0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2313" y="538162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8F03D34F-2A66-9E43-994D-383F3ECA19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2313" y="2502347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85658B3-58BD-0048-9121-06A4152FE3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2313" y="4466532"/>
            <a:ext cx="2528887" cy="177234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5725469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5FB11B1B-3F3D-604C-9EB4-5E5126F956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8825" cy="68602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Ins="503999" anchor="ctr" anchorCtr="0"/>
          <a:lstStyle>
            <a:lvl1pPr marL="0" indent="0" algn="r">
              <a:lnSpc>
                <a:spcPts val="3860"/>
              </a:lnSpc>
              <a:buFontTx/>
              <a:buNone/>
              <a:defRPr sz="480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BG"/>
              <a:t>                Picture </a:t>
            </a:r>
            <a:br>
              <a:rPr lang="en-BG"/>
            </a:br>
            <a:r>
              <a:rPr lang="en-BG"/>
              <a:t>Placehold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C19264-1961-4652-B02A-E3432B012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C19264-1961-4652-B02A-E3432B012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92E8C3-F64F-4C68-BE86-5BC9BDB4D7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7196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vi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monitor, screenshot, electronics&#10;&#10;Description automatically generated">
            <a:extLst>
              <a:ext uri="{FF2B5EF4-FFF2-40B4-BE49-F238E27FC236}">
                <a16:creationId xmlns:a16="http://schemas.microsoft.com/office/drawing/2014/main" id="{B56FEB53-D4A3-4EC0-AFB5-0C95253A53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591" y="1527801"/>
            <a:ext cx="5723589" cy="495878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722239-0864-4539-8D4E-F84B76F85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49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722239-0864-4539-8D4E-F84B76F85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97B4E9E-F000-6B4D-A13B-EE7F4EA8E70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00281" y="1828801"/>
            <a:ext cx="5051898" cy="2850506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BG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19634F-977E-4F2E-8291-F2190948E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8009238" cy="90963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6BFD9F-FFAD-A74E-896E-712D65C4B2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52509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8061709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A64ED-6E44-CE40-884C-C1F3360861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70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gress Outro no text.mp4" descr="Progress Outro no text.mp4">
            <a:hlinkClick r:id="" action="ppaction://media"/>
            <a:extLst>
              <a:ext uri="{FF2B5EF4-FFF2-40B4-BE49-F238E27FC236}">
                <a16:creationId xmlns:a16="http://schemas.microsoft.com/office/drawing/2014/main" id="{5A546D01-834F-CB40-93EC-185C473ACE2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BA8C2F-EEB5-964C-B283-39542BF4C4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0519" y="2877420"/>
            <a:ext cx="4730962" cy="110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115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01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3652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26C0B3B-05EA-CB4C-8298-3E30D48F2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527843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EB901A0-A63B-44BE-9928-1BA455334F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98463" y="0"/>
            <a:ext cx="6193537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5EFEB-1D93-3249-BDDE-45B54D5103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1762881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85F10A-E66C-4489-AA0B-94914B208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5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485F10A-E66C-4489-AA0B-94914B208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6C447A6B-E87C-9A42-8E46-8CE8E1730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4"/>
            <a:ext cx="5278437" cy="1130526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0CF4B4-0184-4909-9086-FB77EB4D5C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58977" y="0"/>
            <a:ext cx="6633023" cy="6858594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456E819-62F6-6340-8234-646A501DFD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14513"/>
            <a:ext cx="5276850" cy="44878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047116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74C79588-1FE1-4CDA-B32E-63BF1A9993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6B2E4E0-B8DD-4922-949D-C7084FC2C8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41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6B2E4E0-B8DD-4922-949D-C7084FC2C8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21E477A-A006-6C49-BE36-436BBA49EDF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3D826D9-3D3E-476E-A11B-913B3AC8767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5B538863-68A3-644B-8B9A-9DB40A50F50B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F55290-69B1-864A-8ECE-A49757FA39F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5270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664C5359-6168-450F-A3B2-F9B3EC03B1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B40B33-A7C9-794A-8DD4-F029935874E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50B0453-9552-405E-BEEB-A3A1CB1E15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65F74E2B-B2FC-9A42-9B6A-5C0ED73A15B6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2609126" y="2592388"/>
            <a:ext cx="6973747" cy="1606550"/>
          </a:xfrm>
          <a:prstGeom prst="rect">
            <a:avLst/>
          </a:prstGeom>
          <a:ln algn="ctr"/>
        </p:spPr>
        <p:txBody>
          <a:bodyPr vert="horz" lIns="0" tIns="0" rIns="0" bIns="0" anchor="ctr" anchorCtr="0">
            <a:noAutofit/>
          </a:bodyPr>
          <a:lstStyle>
            <a:lvl1pPr algn="ctr">
              <a:lnSpc>
                <a:spcPts val="3600"/>
              </a:lnSpc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entered Title Style</a:t>
            </a:r>
            <a:br>
              <a:rPr lang="en-US"/>
            </a:br>
            <a:r>
              <a:rPr lang="en-US"/>
              <a:t>Up to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C245B-9648-EA4E-836E-6BBB5FA39829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162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2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hyperlink" Target="https://www.progress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D4BAA7-03DD-44E7-AAFA-2970D3D54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79711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349" imgH="349" progId="TCLayout.ActiveDocument.1">
                  <p:embed/>
                </p:oleObj>
              </mc:Choice>
              <mc:Fallback>
                <p:oleObj name="think-cell Slide" r:id="rId58" imgW="349" imgH="34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D4BAA7-03DD-44E7-AAFA-2970D3D54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A4882C-43B6-4419-AD7D-B146CF7A7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600" y="1677989"/>
            <a:ext cx="10746088" cy="4536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bg-BG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 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th Level</a:t>
            </a:r>
          </a:p>
          <a:p>
            <a:pPr lvl="4"/>
            <a:endParaRPr lang="en-US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36C8E14-F9BC-E647-849A-249E89A17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10746088" cy="909637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BG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AB045D-1123-C741-B93A-5E364D752A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0" i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0" i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00406F-91C3-374E-A473-E987487E33DA}"/>
              </a:ext>
            </a:extLst>
          </p:cNvPr>
          <p:cNvSpPr txBox="1"/>
          <p:nvPr userDrawn="1"/>
        </p:nvSpPr>
        <p:spPr>
          <a:xfrm>
            <a:off x="45074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  <p:pic>
        <p:nvPicPr>
          <p:cNvPr id="9" name="Picture 2">
            <a:hlinkClick r:id="rId60"/>
            <a:extLst>
              <a:ext uri="{FF2B5EF4-FFF2-40B4-BE49-F238E27FC236}">
                <a16:creationId xmlns:a16="http://schemas.microsoft.com/office/drawing/2014/main" id="{C68807BC-3337-44CB-B44B-34553DF69BB0}"/>
              </a:ext>
            </a:extLst>
          </p:cNvPr>
          <p:cNvPicPr>
            <a:picLocks noChangeAspect="1"/>
          </p:cNvPicPr>
          <p:nvPr userDrawn="1"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6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728" r:id="rId2"/>
    <p:sldLayoutId id="2147483861" r:id="rId3"/>
    <p:sldLayoutId id="2147483809" r:id="rId4"/>
    <p:sldLayoutId id="2147483862" r:id="rId5"/>
    <p:sldLayoutId id="2147483815" r:id="rId6"/>
    <p:sldLayoutId id="2147483817" r:id="rId7"/>
    <p:sldLayoutId id="2147483810" r:id="rId8"/>
    <p:sldLayoutId id="2147483811" r:id="rId9"/>
    <p:sldLayoutId id="2147483865" r:id="rId10"/>
    <p:sldLayoutId id="2147483812" r:id="rId11"/>
    <p:sldLayoutId id="2147483840" r:id="rId12"/>
    <p:sldLayoutId id="2147483863" r:id="rId13"/>
    <p:sldLayoutId id="2147483841" r:id="rId14"/>
    <p:sldLayoutId id="2147483800" r:id="rId15"/>
    <p:sldLayoutId id="2147483819" r:id="rId16"/>
    <p:sldLayoutId id="2147483820" r:id="rId17"/>
    <p:sldLayoutId id="2147483649" r:id="rId18"/>
    <p:sldLayoutId id="2147483727" r:id="rId19"/>
    <p:sldLayoutId id="2147483859" r:id="rId20"/>
    <p:sldLayoutId id="2147483857" r:id="rId21"/>
    <p:sldLayoutId id="2147483858" r:id="rId22"/>
    <p:sldLayoutId id="2147483845" r:id="rId23"/>
    <p:sldLayoutId id="2147483726" r:id="rId24"/>
    <p:sldLayoutId id="2147483821" r:id="rId25"/>
    <p:sldLayoutId id="2147483822" r:id="rId26"/>
    <p:sldLayoutId id="2147483824" r:id="rId27"/>
    <p:sldLayoutId id="2147483827" r:id="rId28"/>
    <p:sldLayoutId id="2147483826" r:id="rId29"/>
    <p:sldLayoutId id="2147483730" r:id="rId30"/>
    <p:sldLayoutId id="2147483837" r:id="rId31"/>
    <p:sldLayoutId id="2147483851" r:id="rId32"/>
    <p:sldLayoutId id="2147483852" r:id="rId33"/>
    <p:sldLayoutId id="2147483732" r:id="rId34"/>
    <p:sldLayoutId id="2147483838" r:id="rId35"/>
    <p:sldLayoutId id="2147483839" r:id="rId36"/>
    <p:sldLayoutId id="2147483853" r:id="rId37"/>
    <p:sldLayoutId id="2147483854" r:id="rId38"/>
    <p:sldLayoutId id="2147483864" r:id="rId39"/>
    <p:sldLayoutId id="2147483835" r:id="rId40"/>
    <p:sldLayoutId id="2147483836" r:id="rId41"/>
    <p:sldLayoutId id="2147483792" r:id="rId42"/>
    <p:sldLayoutId id="2147483799" r:id="rId43"/>
    <p:sldLayoutId id="2147483793" r:id="rId44"/>
    <p:sldLayoutId id="2147483823" r:id="rId45"/>
    <p:sldLayoutId id="2147483798" r:id="rId46"/>
    <p:sldLayoutId id="2147483842" r:id="rId47"/>
    <p:sldLayoutId id="2147483846" r:id="rId48"/>
    <p:sldLayoutId id="2147483833" r:id="rId49"/>
    <p:sldLayoutId id="2147483850" r:id="rId50"/>
    <p:sldLayoutId id="2147483849" r:id="rId51"/>
    <p:sldLayoutId id="2147483794" r:id="rId52"/>
    <p:sldLayoutId id="2147483767" r:id="rId53"/>
    <p:sldLayoutId id="2147483855" r:id="rId54"/>
    <p:sldLayoutId id="2147483856" r:id="rId55"/>
  </p:sldLayoutIdLst>
  <p:txStyles>
    <p:titleStyle>
      <a:lvl1pPr algn="l" defTabSz="914400" rtl="0" eaLnBrk="1" latinLnBrk="0" hangingPunct="1">
        <a:lnSpc>
          <a:spcPts val="3600"/>
        </a:lnSpc>
        <a:spcBef>
          <a:spcPct val="0"/>
        </a:spcBef>
        <a:buNone/>
        <a:defRPr sz="4000" b="1" i="0" kern="1200" spc="-100" baseline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5425" indent="-225425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135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47675" indent="-222250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115000"/>
        <a:buFont typeface="Arial" panose="020B0604020202020204" pitchFamily="34" charset="0"/>
        <a:buChar char="•"/>
        <a:tabLst/>
        <a:defRPr sz="2400" b="0" i="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77850" indent="-130175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80000"/>
        <a:buFont typeface="Wingdings" pitchFamily="2" charset="2"/>
        <a:buChar char="§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0588" indent="-176213" algn="l" defTabSz="914400" rtl="0" eaLnBrk="1" latinLnBrk="0" hangingPunct="1">
        <a:lnSpc>
          <a:spcPct val="120000"/>
        </a:lnSpc>
        <a:spcBef>
          <a:spcPts val="0"/>
        </a:spcBef>
        <a:spcAft>
          <a:spcPts val="700"/>
        </a:spcAft>
        <a:buClr>
          <a:schemeClr val="tx2"/>
        </a:buClr>
        <a:buSzPct val="70000"/>
        <a:buFont typeface="Wingdings" pitchFamily="2" charset="2"/>
        <a:buChar char="§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55700" indent="-225425" algn="l" defTabSz="914400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Font typeface="Arial" panose="020B0503030202060203" pitchFamily="34" charset="0"/>
        <a:buChar char="–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3350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50000"/>
        <a:buFont typeface="Wingdings" pitchFamily="2" charset="2"/>
        <a:buChar char="§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1" userDrawn="1">
          <p15:clr>
            <a:srgbClr val="A4A3A4"/>
          </p15:clr>
        </p15:guide>
        <p15:guide id="2" pos="455" userDrawn="1">
          <p15:clr>
            <a:srgbClr val="9FCC3B"/>
          </p15:clr>
        </p15:guide>
        <p15:guide id="4" pos="7225" userDrawn="1">
          <p15:clr>
            <a:srgbClr val="F26B43"/>
          </p15:clr>
        </p15:guide>
        <p15:guide id="7" orient="horz" pos="3929" userDrawn="1">
          <p15:clr>
            <a:srgbClr val="F26B43"/>
          </p15:clr>
        </p15:guide>
        <p15:guide id="8" orient="horz" pos="339" userDrawn="1">
          <p15:clr>
            <a:srgbClr val="F26B43"/>
          </p15:clr>
        </p15:guide>
        <p15:guide id="9" orient="horz" pos="626" userDrawn="1">
          <p15:clr>
            <a:srgbClr val="A4A3A4"/>
          </p15:clr>
        </p15:guide>
        <p15:guide id="10" orient="horz" pos="766" userDrawn="1">
          <p15:clr>
            <a:srgbClr val="A4A3A4"/>
          </p15:clr>
        </p15:guide>
        <p15:guide id="11" orient="horz" pos="912" userDrawn="1">
          <p15:clr>
            <a:srgbClr val="A4A3A4"/>
          </p15:clr>
        </p15:guide>
        <p15:guide id="12" orient="horz" pos="1057" userDrawn="1">
          <p15:clr>
            <a:srgbClr val="A4A3A4"/>
          </p15:clr>
        </p15:guide>
        <p15:guide id="13" orient="horz" pos="1202" userDrawn="1">
          <p15:clr>
            <a:srgbClr val="A4A3A4"/>
          </p15:clr>
        </p15:guide>
        <p15:guide id="14" orient="horz" pos="1344" userDrawn="1">
          <p15:clr>
            <a:srgbClr val="A4A3A4"/>
          </p15:clr>
        </p15:guide>
        <p15:guide id="15" orient="horz" pos="1488" userDrawn="1">
          <p15:clr>
            <a:srgbClr val="A4A3A4"/>
          </p15:clr>
        </p15:guide>
        <p15:guide id="16" orient="horz" pos="1633" userDrawn="1">
          <p15:clr>
            <a:srgbClr val="A4A3A4"/>
          </p15:clr>
        </p15:guide>
        <p15:guide id="17" orient="horz" pos="1778" userDrawn="1">
          <p15:clr>
            <a:srgbClr val="A4A3A4"/>
          </p15:clr>
        </p15:guide>
        <p15:guide id="18" orient="horz" pos="1924" userDrawn="1">
          <p15:clr>
            <a:srgbClr val="A4A3A4"/>
          </p15:clr>
        </p15:guide>
        <p15:guide id="19" orient="horz" pos="2064" userDrawn="1">
          <p15:clr>
            <a:srgbClr val="A4A3A4"/>
          </p15:clr>
        </p15:guide>
        <p15:guide id="20" orient="horz" pos="2215" userDrawn="1">
          <p15:clr>
            <a:srgbClr val="A4A3A4"/>
          </p15:clr>
        </p15:guide>
        <p15:guide id="21" orient="horz" pos="2354" userDrawn="1">
          <p15:clr>
            <a:srgbClr val="A4A3A4"/>
          </p15:clr>
        </p15:guide>
        <p15:guide id="22" orient="horz" pos="2500" userDrawn="1">
          <p15:clr>
            <a:srgbClr val="A4A3A4"/>
          </p15:clr>
        </p15:guide>
        <p15:guide id="23" orient="horz" pos="2645" userDrawn="1">
          <p15:clr>
            <a:srgbClr val="A4A3A4"/>
          </p15:clr>
        </p15:guide>
        <p15:guide id="24" orient="horz" pos="2785" userDrawn="1">
          <p15:clr>
            <a:srgbClr val="A4A3A4"/>
          </p15:clr>
        </p15:guide>
        <p15:guide id="25" orient="horz" pos="2930" userDrawn="1">
          <p15:clr>
            <a:srgbClr val="A4A3A4"/>
          </p15:clr>
        </p15:guide>
        <p15:guide id="26" orient="horz" pos="3076" userDrawn="1">
          <p15:clr>
            <a:srgbClr val="A4A3A4"/>
          </p15:clr>
        </p15:guide>
        <p15:guide id="27" orient="horz" pos="3216" userDrawn="1">
          <p15:clr>
            <a:srgbClr val="A4A3A4"/>
          </p15:clr>
        </p15:guide>
        <p15:guide id="28" orient="horz" pos="3361" userDrawn="1">
          <p15:clr>
            <a:srgbClr val="A4A3A4"/>
          </p15:clr>
        </p15:guide>
        <p15:guide id="29" orient="horz" pos="3506" userDrawn="1">
          <p15:clr>
            <a:srgbClr val="A4A3A4"/>
          </p15:clr>
        </p15:guide>
        <p15:guide id="30" orient="horz" pos="3652" userDrawn="1">
          <p15:clr>
            <a:srgbClr val="A4A3A4"/>
          </p15:clr>
        </p15:guide>
        <p15:guide id="31" orient="horz" pos="3797" userDrawn="1">
          <p15:clr>
            <a:srgbClr val="A4A3A4"/>
          </p15:clr>
        </p15:guide>
        <p15:guide id="32" pos="2048" userDrawn="1">
          <p15:clr>
            <a:srgbClr val="9FCC3B"/>
          </p15:clr>
        </p15:guide>
        <p15:guide id="33" pos="2175" userDrawn="1">
          <p15:clr>
            <a:srgbClr val="9FCC3B"/>
          </p15:clr>
        </p15:guide>
        <p15:guide id="34" pos="3780" userDrawn="1">
          <p15:clr>
            <a:srgbClr val="9FCC3B"/>
          </p15:clr>
        </p15:guide>
        <p15:guide id="35" pos="3892" userDrawn="1">
          <p15:clr>
            <a:srgbClr val="9FCC3B"/>
          </p15:clr>
        </p15:guide>
        <p15:guide id="36" pos="5501" userDrawn="1">
          <p15:clr>
            <a:srgbClr val="9FCC3B"/>
          </p15:clr>
        </p15:guide>
        <p15:guide id="37" pos="5617" userDrawn="1">
          <p15:clr>
            <a:srgbClr val="9FCC3B"/>
          </p15:clr>
        </p15:guide>
        <p15:guide id="38" pos="2634" userDrawn="1">
          <p15:clr>
            <a:srgbClr val="C35EA4"/>
          </p15:clr>
        </p15:guide>
        <p15:guide id="39" pos="2746" userDrawn="1">
          <p15:clr>
            <a:srgbClr val="C35EA4"/>
          </p15:clr>
        </p15:guide>
        <p15:guide id="40" pos="4929" userDrawn="1">
          <p15:clr>
            <a:srgbClr val="C35EA4"/>
          </p15:clr>
        </p15:guide>
        <p15:guide id="41" pos="5041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21A_F678681F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7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BE_98EAE24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8560D7-F7B4-D446-A0FC-F59F9F49CD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BG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187C9-C8BC-E24A-AFA6-F7F26EC51E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BG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4F1F01-2A1A-E746-A75C-EB58C17BE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B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7C7BE-8A34-404B-92DC-3DAAC4BFC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3 R3 Release Webinar</a:t>
            </a:r>
            <a:br>
              <a:rPr lang="en-US" dirty="0"/>
            </a:br>
            <a:br>
              <a:rPr lang="en-US" dirty="0"/>
            </a:br>
            <a:endParaRPr lang="en-BG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2AD3698-6C10-B24D-B95F-6FEDB2AEB8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All Things Web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897173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>
            <a:extLst>
              <a:ext uri="{FF2B5EF4-FFF2-40B4-BE49-F238E27FC236}">
                <a16:creationId xmlns:a16="http://schemas.microsoft.com/office/drawing/2014/main" id="{ACC09730-388D-5C54-94EA-A270AA9A6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200" dirty="0"/>
              <a:t>Telerik UI for MVC/Co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14E3836-01CA-B00C-2B1E-229915586C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Metric"/>
              </a:rPr>
              <a:t>Customization Enhancements </a:t>
            </a:r>
          </a:p>
          <a:p>
            <a:pPr marL="790575" lvl="1" indent="-342900"/>
            <a:r>
              <a:rPr lang="en-US" b="1" i="0" dirty="0">
                <a:effectLst/>
                <a:latin typeface="Metric"/>
              </a:rPr>
              <a:t>Scheduler Custom Toolbar</a:t>
            </a:r>
          </a:p>
          <a:p>
            <a:pPr marL="790575" lvl="1" indent="-342900"/>
            <a:r>
              <a:rPr lang="en-US" b="1" i="0" dirty="0" err="1">
                <a:effectLst/>
                <a:latin typeface="Metric"/>
              </a:rPr>
              <a:t>DatePicker</a:t>
            </a:r>
            <a:r>
              <a:rPr lang="en-US" b="1" i="0" dirty="0">
                <a:effectLst/>
                <a:latin typeface="Metric"/>
              </a:rPr>
              <a:t> Adaptive Mode</a:t>
            </a:r>
          </a:p>
          <a:p>
            <a:pPr marL="790575" lvl="1" indent="-342900"/>
            <a:r>
              <a:rPr lang="en-US" b="1" i="0" dirty="0" err="1">
                <a:effectLst/>
                <a:latin typeface="Metric"/>
              </a:rPr>
              <a:t>TabStrip</a:t>
            </a:r>
            <a:r>
              <a:rPr lang="en-US" b="1" i="0" dirty="0">
                <a:effectLst/>
                <a:latin typeface="Metric"/>
              </a:rPr>
              <a:t> Templa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11B815-8E85-2DB2-A0AE-C49A72144E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0000"/>
          <a:stretch/>
        </p:blipFill>
        <p:spPr>
          <a:xfrm>
            <a:off x="46781" y="475838"/>
            <a:ext cx="6049219" cy="590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703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>
            <a:extLst>
              <a:ext uri="{FF2B5EF4-FFF2-40B4-BE49-F238E27FC236}">
                <a16:creationId xmlns:a16="http://schemas.microsoft.com/office/drawing/2014/main" id="{ACC09730-388D-5C54-94EA-A270AA9A6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200" dirty="0"/>
              <a:t>Telerik UI for MVC/Co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14E3836-01CA-B00C-2B1E-229915586C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 err="1">
                <a:effectLst/>
                <a:latin typeface="Metric"/>
              </a:rPr>
              <a:t>PDFViewer</a:t>
            </a:r>
            <a:r>
              <a:rPr lang="en-US" b="0" i="0" dirty="0">
                <a:effectLst/>
                <a:latin typeface="Metric"/>
              </a:rPr>
              <a:t> enhancements</a:t>
            </a:r>
          </a:p>
          <a:p>
            <a:pPr marL="790575" lvl="1" indent="-342900"/>
            <a:r>
              <a:rPr lang="en-US" b="1" i="0" dirty="0">
                <a:solidFill>
                  <a:srgbClr val="000000"/>
                </a:solidFill>
                <a:effectLst/>
                <a:latin typeface="Metric"/>
              </a:rPr>
              <a:t>Improved </a:t>
            </a:r>
            <a:r>
              <a:rPr lang="en-US" b="1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1" i="0" dirty="0">
                <a:solidFill>
                  <a:srgbClr val="000000"/>
                </a:solidFill>
                <a:effectLst/>
                <a:latin typeface="Metric"/>
              </a:rPr>
              <a:t> scrolling</a:t>
            </a:r>
          </a:p>
          <a:p>
            <a:pPr marL="790575" lvl="1" indent="-342900"/>
            <a:r>
              <a:rPr lang="en-US" b="1" i="0" dirty="0">
                <a:solidFill>
                  <a:srgbClr val="000000"/>
                </a:solidFill>
                <a:effectLst/>
                <a:latin typeface="Metric"/>
              </a:rPr>
              <a:t>Updated </a:t>
            </a:r>
            <a:r>
              <a:rPr lang="en-US" b="1" i="0" dirty="0" err="1">
                <a:solidFill>
                  <a:srgbClr val="000000"/>
                </a:solidFill>
                <a:effectLst/>
                <a:latin typeface="Metric"/>
              </a:rPr>
              <a:t>PDFViewer</a:t>
            </a:r>
            <a:r>
              <a:rPr lang="en-US" b="1" i="0" dirty="0">
                <a:solidFill>
                  <a:srgbClr val="000000"/>
                </a:solidFill>
                <a:effectLst/>
                <a:latin typeface="Metric"/>
              </a:rPr>
              <a:t> rendering based on latest designs​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b="1" i="0" dirty="0">
              <a:effectLst/>
              <a:latin typeface="Metric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C24231-68E0-A47E-C4A9-0CE2832A93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773"/>
          <a:stretch/>
        </p:blipFill>
        <p:spPr>
          <a:xfrm>
            <a:off x="58168" y="756562"/>
            <a:ext cx="6037832" cy="451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6250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>
            <a:extLst>
              <a:ext uri="{FF2B5EF4-FFF2-40B4-BE49-F238E27FC236}">
                <a16:creationId xmlns:a16="http://schemas.microsoft.com/office/drawing/2014/main" id="{ACC09730-388D-5C54-94EA-A270AA9A6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200" dirty="0"/>
              <a:t>Telerik UI for MVC/Co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14E3836-01CA-B00C-2B1E-229915586C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Metric"/>
              </a:rPr>
              <a:t>Grid improvements</a:t>
            </a:r>
          </a:p>
          <a:p>
            <a:pPr marL="790575" lvl="1" indent="-342900"/>
            <a:r>
              <a:rPr lang="en-US" b="1" i="0" dirty="0">
                <a:effectLst/>
                <a:latin typeface="Metric"/>
              </a:rPr>
              <a:t>Dedicated Context Menu</a:t>
            </a:r>
          </a:p>
          <a:p>
            <a:pPr marL="790575" lvl="1" indent="-342900"/>
            <a:r>
              <a:rPr lang="en-US" b="1" i="0" dirty="0">
                <a:effectLst/>
                <a:latin typeface="Metric"/>
              </a:rPr>
              <a:t>Improved Select or Multi-select on mobile devices with Touch Interactions</a:t>
            </a:r>
          </a:p>
          <a:p>
            <a:pPr marL="790575" lvl="1" indent="-342900"/>
            <a:r>
              <a:rPr lang="en-US" b="1" i="0" dirty="0">
                <a:effectLst/>
                <a:latin typeface="Metric"/>
              </a:rPr>
              <a:t>Option to enable "Changing" Ev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182F51-F909-CE22-5AB5-C95BB5DDB1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681" y="1108075"/>
            <a:ext cx="5201376" cy="437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21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C326E-3FF0-8148-9A57-E108DB3DF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lerik UI for MVC/Core Demos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38862057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FE4F79-F688-4361-A640-1F6B2EF6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600" dirty="0"/>
              <a:t>Telerik UI for Blazor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448505-5944-4B1A-A702-66880C77E4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ListBox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F2F63B-59F9-0C19-BA7D-B4BE1C2E2D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rgbClr val="000000"/>
          </a:solidFill>
        </p:spPr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1B1D8D-836D-260B-0170-4AF288A1A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13" y="1367033"/>
            <a:ext cx="5953956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8351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FE4F79-F688-4361-A640-1F6B2EF6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600" dirty="0"/>
              <a:t>Telerik UI for Blazor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448505-5944-4B1A-A702-66880C77E4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 err="1">
                <a:effectLst/>
                <a:latin typeface="Metric"/>
              </a:rPr>
              <a:t>DropDownButto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F2F63B-59F9-0C19-BA7D-B4BE1C2E2D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109382" cy="6858000"/>
          </a:xfr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3CCD4A-4D98-CE52-AFD6-7A120578C8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1299" y="2395393"/>
            <a:ext cx="2219635" cy="2067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286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FE4F79-F688-4361-A640-1F6B2EF6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600" dirty="0"/>
              <a:t>Telerik UI for Blazor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448505-5944-4B1A-A702-66880C77E4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Metric"/>
              </a:rPr>
              <a:t>Trend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 err="1">
                <a:effectLst/>
                <a:latin typeface="Metric"/>
              </a:rPr>
              <a:t>RangeArea</a:t>
            </a:r>
            <a:endParaRPr lang="en-US" b="0" i="0" dirty="0">
              <a:effectLst/>
              <a:latin typeface="Metr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 err="1">
                <a:effectLst/>
                <a:latin typeface="Metric"/>
              </a:rPr>
              <a:t>RangeBar</a:t>
            </a:r>
            <a:endParaRPr lang="en-US" b="0" i="0" dirty="0">
              <a:effectLst/>
              <a:latin typeface="Metr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 err="1">
                <a:effectLst/>
                <a:latin typeface="Metric"/>
              </a:rPr>
              <a:t>RangeColumn</a:t>
            </a:r>
            <a:r>
              <a:rPr lang="en-US" b="0" i="0" dirty="0">
                <a:effectLst/>
                <a:latin typeface="Metric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Metric"/>
              </a:rPr>
              <a:t>Waterfall chart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92D20C-F0C5-9D4D-CD8C-77119DD658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348" r="24084"/>
          <a:stretch/>
        </p:blipFill>
        <p:spPr>
          <a:xfrm>
            <a:off x="109356" y="1108075"/>
            <a:ext cx="5921496" cy="406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500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BA3D85-B026-A8E9-E474-FA670638C5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0642" y="2592388"/>
            <a:ext cx="6973747" cy="1606550"/>
          </a:xfrm>
        </p:spPr>
        <p:txBody>
          <a:bodyPr anchor="ctr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/>
              <a:t>Deprecation of .NET 3 and .NET 5 </a:t>
            </a:r>
            <a:br>
              <a:rPr lang="en-US"/>
            </a:br>
            <a:r>
              <a:rPr lang="en-US"/>
              <a:t>in Telerik UI for Blazor</a:t>
            </a:r>
            <a:br>
              <a:rPr lang="en-US"/>
            </a:br>
            <a:r>
              <a:rPr lang="en-US">
                <a:solidFill>
                  <a:srgbClr val="F1627A"/>
                </a:solidFill>
              </a:rPr>
              <a:t>Starting from R1 2024</a:t>
            </a:r>
          </a:p>
        </p:txBody>
      </p:sp>
    </p:spTree>
    <p:extLst>
      <p:ext uri="{BB962C8B-B14F-4D97-AF65-F5344CB8AC3E}">
        <p14:creationId xmlns:p14="http://schemas.microsoft.com/office/powerpoint/2010/main" val="1264232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C326E-3FF0-8148-9A57-E108DB3DF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lerik UI for Blazor Demos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41350861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206505C-192E-4D99-A53F-5E930A5A0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599" y="538163"/>
            <a:ext cx="11178841" cy="909637"/>
          </a:xfrm>
        </p:spPr>
        <p:txBody>
          <a:bodyPr/>
          <a:lstStyle/>
          <a:p>
            <a:r>
              <a:rPr lang="en-US" err="1"/>
              <a:t>ThemeBuilder</a:t>
            </a:r>
            <a:r>
              <a:rPr lang="en-US"/>
              <a:t> Enhancements</a:t>
            </a:r>
            <a:br>
              <a:rPr lang="en-US"/>
            </a:br>
            <a:r>
              <a:rPr lang="en-US" sz="3200">
                <a:solidFill>
                  <a:schemeClr val="accent1"/>
                </a:solidFill>
              </a:rPr>
              <a:t>ASP.NET MVC and ASP.NET Cor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43180B8-40D8-4545-9063-F6A17A3899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5346200" cy="4487862"/>
          </a:xfrm>
        </p:spPr>
        <p:txBody>
          <a:bodyPr/>
          <a:lstStyle/>
          <a:p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" name="Picture Placeholder 5" descr="Graphical user interface, application, chat or text message&#10;&#10;Description automatically generated">
            <a:extLst>
              <a:ext uri="{FF2B5EF4-FFF2-40B4-BE49-F238E27FC236}">
                <a16:creationId xmlns:a16="http://schemas.microsoft.com/office/drawing/2014/main" id="{6D74D8AC-E1F6-4A98-A828-D4AED92AB1D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6" t="-9949" r="-226" b="-9949"/>
          <a:stretch/>
        </p:blipFill>
        <p:spPr>
          <a:xfrm>
            <a:off x="6313019" y="1843904"/>
            <a:ext cx="5051898" cy="2850506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32BBB3-77C0-5795-CF59-A61DE6EC6F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3019" y="1843904"/>
            <a:ext cx="5007799" cy="2764485"/>
          </a:xfrm>
          <a:prstGeom prst="rect">
            <a:avLst/>
          </a:prstGeom>
        </p:spPr>
      </p:pic>
      <p:pic>
        <p:nvPicPr>
          <p:cNvPr id="2" name="Picture 6">
            <a:extLst>
              <a:ext uri="{FF2B5EF4-FFF2-40B4-BE49-F238E27FC236}">
                <a16:creationId xmlns:a16="http://schemas.microsoft.com/office/drawing/2014/main" id="{B86EE29D-F6A6-5A5F-F0F7-40A16A23B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9115" y="4051300"/>
            <a:ext cx="2577080" cy="256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3479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5ED3E0-D512-5242-8779-5F5BBA97E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lerik UI .NET Web</a:t>
            </a:r>
            <a:endParaRPr lang="en-B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C09CDB-1825-9D47-8B4F-E98C9AF02A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GB" b="1" dirty="0"/>
              <a:t>UI for ASP.NET AJAX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GB" b="1" dirty="0"/>
              <a:t>UI for ASP.NET MVC/Core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GB" b="1" dirty="0"/>
              <a:t>UI for Blazor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GB" b="1" dirty="0"/>
              <a:t>.NET 8RC Support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GB" b="1" dirty="0"/>
              <a:t>ThemeBuil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0367743-DE00-416B-88E6-3E62900E52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821366" y="422296"/>
            <a:ext cx="2999231" cy="4146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1644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206505C-192E-4D99-A53F-5E930A5A0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599" y="538163"/>
            <a:ext cx="11178841" cy="909637"/>
          </a:xfrm>
        </p:spPr>
        <p:txBody>
          <a:bodyPr/>
          <a:lstStyle/>
          <a:p>
            <a:r>
              <a:rPr lang="en-US"/>
              <a:t>New Progress Design System Resources</a:t>
            </a:r>
            <a:br>
              <a:rPr lang="en-US"/>
            </a:br>
            <a:r>
              <a:rPr lang="en-US" sz="3200">
                <a:solidFill>
                  <a:schemeClr val="accent1"/>
                </a:solidFill>
              </a:rPr>
              <a:t>Telerik .NET and Kendo UI Web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43180B8-40D8-4545-9063-F6A17A3899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5346200" cy="4487862"/>
          </a:xfrm>
        </p:spPr>
        <p:txBody>
          <a:bodyPr/>
          <a:lstStyle/>
          <a:p>
            <a:endParaRPr lang="en-US" sz="2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0100EF-40C8-7595-6D1A-CD7E99B488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024421515" descr="A picture containing text, screenshot, businesscard, font&#10;&#10;Description automatically generated">
            <a:extLst>
              <a:ext uri="{FF2B5EF4-FFF2-40B4-BE49-F238E27FC236}">
                <a16:creationId xmlns:a16="http://schemas.microsoft.com/office/drawing/2014/main" id="{12B96089-C01A-6946-7278-47DBAB991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281" y="1814513"/>
            <a:ext cx="5117174" cy="2850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2359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37453-CD81-4164-A7E2-2BA37C729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lazor Hybrid is Officially Supported!</a:t>
            </a:r>
            <a:br>
              <a:rPr lang="en-US"/>
            </a:br>
            <a:r>
              <a:rPr kumimoji="0" lang="en-US" sz="3200" b="1" i="0" u="none" strike="noStrike" kern="1200" cap="none" spc="-100" normalizeH="0" baseline="0" noProof="0">
                <a:ln>
                  <a:noFill/>
                </a:ln>
                <a:solidFill>
                  <a:srgbClr val="008963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lerik UI for Blazor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B99B54-CBDB-4F95-B038-74399D6162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1024" y="1852562"/>
            <a:ext cx="7203831" cy="4572000"/>
          </a:xfrm>
        </p:spPr>
        <p:txBody>
          <a:bodyPr/>
          <a:lstStyle/>
          <a:p>
            <a:r>
              <a:rPr lang="en-US" sz="2000" dirty="0">
                <a:latin typeface="+mn-lt"/>
              </a:rPr>
              <a:t>.NET MAUI is the evolution of the  MS .NET cross-platform strategy: a framework for creating native mobile and desktop apps with C#/XAML. </a:t>
            </a:r>
          </a:p>
          <a:p>
            <a:r>
              <a:rPr lang="en-US" sz="2000" dirty="0"/>
              <a:t>With support for Blazor Hybrid in Progress Telerik UI for Blazor, </a:t>
            </a:r>
            <a:r>
              <a:rPr lang="en-US" sz="2000" dirty="0" err="1"/>
              <a:t>devs</a:t>
            </a:r>
            <a:r>
              <a:rPr lang="en-US" sz="2000" dirty="0"/>
              <a:t> can leverage a common codebase between a Blazor web, desktop and mobile app and deploy across platforms faster – without the need to write additional code.  </a:t>
            </a:r>
          </a:p>
        </p:txBody>
      </p:sp>
      <p:pic>
        <p:nvPicPr>
          <p:cNvPr id="82948" name="Picture 4" descr="TelerikBlazorInMaui app is running on desktop ">
            <a:extLst>
              <a:ext uri="{FF2B5EF4-FFF2-40B4-BE49-F238E27FC236}">
                <a16:creationId xmlns:a16="http://schemas.microsoft.com/office/drawing/2014/main" id="{933594F5-9226-07CC-80AE-6061A6702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0" y="1938227"/>
            <a:ext cx="3973785" cy="393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46" name="Picture 2" descr="TelerikBlazorInMaui app on iPad Air ">
            <a:extLst>
              <a:ext uri="{FF2B5EF4-FFF2-40B4-BE49-F238E27FC236}">
                <a16:creationId xmlns:a16="http://schemas.microsoft.com/office/drawing/2014/main" id="{D09561B6-1083-073C-2294-710541DA9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1662" y="3311977"/>
            <a:ext cx="2030736" cy="291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0606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FE4F79-F688-4361-A640-1F6B2EF6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7512" y="538163"/>
            <a:ext cx="5902712" cy="1139825"/>
          </a:xfrm>
        </p:spPr>
        <p:txBody>
          <a:bodyPr anchor="t">
            <a:normAutofit/>
          </a:bodyPr>
          <a:lstStyle/>
          <a:p>
            <a:r>
              <a:rPr lang="en-US" sz="3200"/>
              <a:t>Telerik UI for ASP.NET AJAX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E5F00D-0205-4DDB-BAB9-63B2C6CEC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6039" y="1788898"/>
            <a:ext cx="5278437" cy="442836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vat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Vertical Area Cha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Vertical Line Cha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art Improvements</a:t>
            </a:r>
          </a:p>
          <a:p>
            <a:pPr marL="790575" lvl="1" indent="-342900"/>
            <a:r>
              <a:rPr lang="en-US" dirty="0"/>
              <a:t>Customizing the Label Position, Label Background, Step Property and mo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1142A2-F343-27B3-0AFC-12EE61C6D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582" y="1548127"/>
            <a:ext cx="3604434" cy="23712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A4F931-9B6A-8142-07D6-2DA97EFC7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0582" y="4003081"/>
            <a:ext cx="3604434" cy="23641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7A507-EE2C-96F7-814F-1F316CB679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105" y="685370"/>
            <a:ext cx="4737388" cy="422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196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AAD65A4-2529-2652-E9B4-F1083BA36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09126" y="1777740"/>
            <a:ext cx="6973747" cy="316001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End of .NET 3.5-4.0 Support</a:t>
            </a:r>
            <a:br>
              <a:rPr lang="en-US" dirty="0"/>
            </a:br>
            <a:r>
              <a:rPr lang="en-US" dirty="0"/>
              <a:t>After R2 2023 SP1</a:t>
            </a:r>
            <a:br>
              <a:rPr lang="en-US" dirty="0"/>
            </a:b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 Newer Versions</a:t>
            </a:r>
            <a:br>
              <a:rPr lang="en-US" dirty="0"/>
            </a:br>
            <a:r>
              <a:rPr lang="en-US" dirty="0">
                <a:solidFill>
                  <a:srgbClr val="F1627A"/>
                </a:solidFill>
              </a:rPr>
              <a:t>.NET 4.5-4.8 Only</a:t>
            </a:r>
          </a:p>
        </p:txBody>
      </p:sp>
    </p:spTree>
    <p:extLst>
      <p:ext uri="{BB962C8B-B14F-4D97-AF65-F5344CB8AC3E}">
        <p14:creationId xmlns:p14="http://schemas.microsoft.com/office/powerpoint/2010/main" val="1259724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C326E-3FF0-8148-9A57-E108DB3DF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lerik UI for AJAX Demos</a:t>
            </a:r>
            <a:endParaRPr lang="en-BG"/>
          </a:p>
        </p:txBody>
      </p:sp>
    </p:spTree>
    <p:extLst>
      <p:ext uri="{BB962C8B-B14F-4D97-AF65-F5344CB8AC3E}">
        <p14:creationId xmlns:p14="http://schemas.microsoft.com/office/powerpoint/2010/main" val="2782402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FE4F79-F688-4361-A640-1F6B2EF6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8009238" cy="909637"/>
          </a:xfrm>
        </p:spPr>
        <p:txBody>
          <a:bodyPr anchor="t">
            <a:normAutofit fontScale="90000"/>
          </a:bodyPr>
          <a:lstStyle/>
          <a:p>
            <a:r>
              <a:rPr lang="en-US"/>
              <a:t>Day-Zero Support for .NET 8 Preview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6D725F-9870-4B1E-ABA0-1B7419C584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5250950" cy="4487862"/>
          </a:xfrm>
        </p:spPr>
        <p:txBody>
          <a:bodyPr>
            <a:normAutofit/>
          </a:bodyPr>
          <a:lstStyle/>
          <a:p>
            <a:r>
              <a:rPr lang="en-US" dirty="0"/>
              <a:t>.</a:t>
            </a:r>
            <a:r>
              <a:rPr lang="en-US" b="1" dirty="0"/>
              <a:t>NET 8 RC2</a:t>
            </a:r>
          </a:p>
          <a:p>
            <a:pPr lvl="1"/>
            <a:r>
              <a:rPr lang="en-US" dirty="0"/>
              <a:t>Released in October</a:t>
            </a:r>
          </a:p>
          <a:p>
            <a:r>
              <a:rPr lang="en-US" dirty="0"/>
              <a:t>.NET 8 brings substantial performance improvements in Blazor</a:t>
            </a:r>
          </a:p>
          <a:p>
            <a:r>
              <a:rPr lang="en-US" sz="2400" dirty="0"/>
              <a:t>We will continue to support .NET 7 and 8 in cadence with M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BCB0018-ED35-6DEC-FDD1-E495F2E7E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0506" y="1814512"/>
            <a:ext cx="5026435" cy="2937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3016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FE4F79-F688-4361-A640-1F6B2EF6A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600" y="538163"/>
            <a:ext cx="8009238" cy="909637"/>
          </a:xfrm>
        </p:spPr>
        <p:txBody>
          <a:bodyPr anchor="t">
            <a:normAutofit/>
          </a:bodyPr>
          <a:lstStyle/>
          <a:p>
            <a:r>
              <a:rPr lang="en-US"/>
              <a:t>Content Security Policy Suppor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6D725F-9870-4B1E-ABA0-1B7419C584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9800" y="1814513"/>
            <a:ext cx="5250950" cy="4487862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+mn-lt"/>
              </a:rPr>
              <a:t>Using a strict CSP prevents hackers from using HTML injection flaws to force the browser to execute a malicious script</a:t>
            </a:r>
          </a:p>
          <a:p>
            <a:r>
              <a:rPr lang="en-US" sz="2400" dirty="0">
                <a:solidFill>
                  <a:srgbClr val="000000"/>
                </a:solidFill>
                <a:latin typeface="+mn-lt"/>
              </a:rPr>
              <a:t>This policy is especially effective against cross-site scripting attacks</a:t>
            </a:r>
          </a:p>
          <a:p>
            <a:r>
              <a:rPr lang="en-US" sz="2400" dirty="0">
                <a:solidFill>
                  <a:srgbClr val="000000"/>
                </a:solidFill>
                <a:latin typeface="+mn-lt"/>
              </a:rPr>
              <a:t>Strict compliance in R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3</a:t>
            </a:r>
            <a:endParaRPr lang="en-US" sz="2400" dirty="0">
              <a:solidFill>
                <a:srgbClr val="000000"/>
              </a:solidFill>
              <a:latin typeface="+mn-lt"/>
            </a:endParaRPr>
          </a:p>
          <a:p>
            <a:endParaRPr lang="en-US" sz="2400" dirty="0">
              <a:solidFill>
                <a:srgbClr val="000000"/>
              </a:solidFill>
              <a:latin typeface="+mn-lt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Placeholder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0E6D765-2F88-3533-40D1-68D77F24833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" r="2116"/>
          <a:stretch>
            <a:fillRect/>
          </a:stretch>
        </p:blipFill>
        <p:spPr>
          <a:xfrm>
            <a:off x="6300281" y="1828801"/>
            <a:ext cx="5051898" cy="2850506"/>
          </a:xfrm>
        </p:spPr>
      </p:pic>
    </p:spTree>
    <p:extLst>
      <p:ext uri="{BB962C8B-B14F-4D97-AF65-F5344CB8AC3E}">
        <p14:creationId xmlns:p14="http://schemas.microsoft.com/office/powerpoint/2010/main" val="256553018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>
            <a:extLst>
              <a:ext uri="{FF2B5EF4-FFF2-40B4-BE49-F238E27FC236}">
                <a16:creationId xmlns:a16="http://schemas.microsoft.com/office/drawing/2014/main" id="{ACC09730-388D-5C54-94EA-A270AA9A6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200" dirty="0"/>
              <a:t>New in Telerik UI for MVC/Co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14E3836-01CA-B00C-2B1E-229915586C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i="0" dirty="0" err="1">
                <a:effectLst/>
                <a:latin typeface="Metric"/>
              </a:rPr>
              <a:t>DockManger</a:t>
            </a:r>
            <a:endParaRPr lang="en-US" b="1" i="0" dirty="0">
              <a:effectLst/>
              <a:latin typeface="Metric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4E5AAE-1C07-0F1D-2FAA-8AEEA581A2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-1" r="-21930" b="-57012"/>
          <a:stretch/>
        </p:blipFill>
        <p:spPr>
          <a:xfrm>
            <a:off x="0" y="2086112"/>
            <a:ext cx="7410595" cy="387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022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>
            <a:extLst>
              <a:ext uri="{FF2B5EF4-FFF2-40B4-BE49-F238E27FC236}">
                <a16:creationId xmlns:a16="http://schemas.microsoft.com/office/drawing/2014/main" id="{ACC09730-388D-5C54-94EA-A270AA9A6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40" y="538163"/>
            <a:ext cx="5626604" cy="1139825"/>
          </a:xfrm>
        </p:spPr>
        <p:txBody>
          <a:bodyPr anchor="t">
            <a:normAutofit/>
          </a:bodyPr>
          <a:lstStyle/>
          <a:p>
            <a:r>
              <a:rPr lang="en-US" sz="3200" dirty="0"/>
              <a:t>Telerik UI for MVC/Co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14E3836-01CA-B00C-2B1E-229915586C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69362" y="1808922"/>
            <a:ext cx="5278437" cy="442836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Metric"/>
              </a:rPr>
              <a:t>Pyramid Char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8B2E2D-3AE1-1310-74C5-386CC2732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724" y="1276049"/>
            <a:ext cx="3820058" cy="430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651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rogress 2">
      <a:dk1>
        <a:srgbClr val="000000"/>
      </a:dk1>
      <a:lt1>
        <a:srgbClr val="FFFFFF"/>
      </a:lt1>
      <a:dk2>
        <a:srgbClr val="0052DB"/>
      </a:dk2>
      <a:lt2>
        <a:srgbClr val="F3FAFF"/>
      </a:lt2>
      <a:accent1>
        <a:srgbClr val="008963"/>
      </a:accent1>
      <a:accent2>
        <a:srgbClr val="FFD000"/>
      </a:accent2>
      <a:accent3>
        <a:srgbClr val="2889FC"/>
      </a:accent3>
      <a:accent4>
        <a:srgbClr val="00B563"/>
      </a:accent4>
      <a:accent5>
        <a:srgbClr val="A7E9FF"/>
      </a:accent5>
      <a:accent6>
        <a:srgbClr val="D5F6FF"/>
      </a:accent6>
      <a:hlink>
        <a:srgbClr val="0069E8"/>
      </a:hlink>
      <a:folHlink>
        <a:srgbClr val="76C1FF"/>
      </a:folHlink>
    </a:clrScheme>
    <a:fontScheme name="Custom 6">
      <a:majorFont>
        <a:latin typeface="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ts val="2700"/>
          </a:lnSpc>
          <a:defRPr sz="2400" dirty="0" smtClean="0"/>
        </a:defPPr>
      </a:lstStyle>
    </a:txDef>
  </a:objectDefaults>
  <a:extraClrSchemeLst/>
  <a:custClrLst>
    <a:custClr name="Light Green S1">
      <a:srgbClr val="4FB850"/>
    </a:custClr>
    <a:custClr name="Yellow S1">
      <a:srgbClr val="FBCE0A"/>
    </a:custClr>
    <a:custClr name="Yellow S2">
      <a:srgbClr val="FAE400"/>
    </a:custClr>
    <a:custClr name="Red S2">
      <a:srgbClr val="F1627A"/>
    </a:custClr>
    <a:custClr name="Light Blue S1">
      <a:srgbClr val="00BCED"/>
    </a:custClr>
    <a:custClr name="Blue Line">
      <a:srgbClr val="0053A5"/>
    </a:custClr>
    <a:custClr name="TEAL S3">
      <a:srgbClr val="0AA39F"/>
    </a:custClr>
    <a:custClr name="Purple S1">
      <a:srgbClr val="311B97"/>
    </a:custClr>
    <a:custClr name="Purple S2">
      <a:srgbClr val="5122B9"/>
    </a:custClr>
    <a:custClr name="Light Gray S2">
      <a:srgbClr val="DDE9F7"/>
    </a:custClr>
  </a:custClrLst>
  <a:extLst>
    <a:ext uri="{05A4C25C-085E-4340-85A3-A5531E510DB2}">
      <thm15:themeFamily xmlns:thm15="http://schemas.microsoft.com/office/thememl/2012/main" name="Presentation1" id="{47EFDED5-77CB-7E4F-8080-8CF989F4D2BF}" vid="{C180BE81-0604-034D-BC8C-55D2A316D46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bd325bd-e5c2-4925-a570-9cf6509d576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7576F97729CF419CC9B14785F58C84" ma:contentTypeVersion="16" ma:contentTypeDescription="Create a new document." ma:contentTypeScope="" ma:versionID="58cf3a984fbac755adb300b2426274fb">
  <xsd:schema xmlns:xsd="http://www.w3.org/2001/XMLSchema" xmlns:xs="http://www.w3.org/2001/XMLSchema" xmlns:p="http://schemas.microsoft.com/office/2006/metadata/properties" xmlns:ns3="10b5e147-2d2b-4766-b3ab-e4413cdc447d" xmlns:ns4="8bd325bd-e5c2-4925-a570-9cf6509d5769" targetNamespace="http://schemas.microsoft.com/office/2006/metadata/properties" ma:root="true" ma:fieldsID="9faa6aff483bf8d4d26436fd07cbc87b" ns3:_="" ns4:_="">
    <xsd:import namespace="10b5e147-2d2b-4766-b3ab-e4413cdc447d"/>
    <xsd:import namespace="8bd325bd-e5c2-4925-a570-9cf6509d576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b5e147-2d2b-4766-b3ab-e4413cdc447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d325bd-e5c2-4925-a570-9cf6509d57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C4F5FD-EAB6-4F77-B3B4-13CE3A239B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8ED5C1-D4D4-4A86-8F77-91DBC99CBB7D}">
  <ds:schemaRefs>
    <ds:schemaRef ds:uri="http://purl.org/dc/dcmitype/"/>
    <ds:schemaRef ds:uri="8bd325bd-e5c2-4925-a570-9cf6509d5769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10b5e147-2d2b-4766-b3ab-e4413cdc447d"/>
  </ds:schemaRefs>
</ds:datastoreItem>
</file>

<file path=customXml/itemProps3.xml><?xml version="1.0" encoding="utf-8"?>
<ds:datastoreItem xmlns:ds="http://schemas.openxmlformats.org/officeDocument/2006/customXml" ds:itemID="{BD442479-CF71-47DA-8FAE-9D43015A8E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b5e147-2d2b-4766-b3ab-e4413cdc447d"/>
    <ds:schemaRef ds:uri="8bd325bd-e5c2-4925-a570-9cf6509d57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ogress PowerPoint Template 2022</Template>
  <TotalTime>414</TotalTime>
  <Words>1089</Words>
  <Application>Microsoft Office PowerPoint</Application>
  <PresentationFormat>Widescreen</PresentationFormat>
  <Paragraphs>153</Paragraphs>
  <Slides>21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Calibri</vt:lpstr>
      <vt:lpstr>Metric</vt:lpstr>
      <vt:lpstr>Wingdings</vt:lpstr>
      <vt:lpstr>Office Theme</vt:lpstr>
      <vt:lpstr>think-cell Slide</vt:lpstr>
      <vt:lpstr>2023 R3 Release Webinar  </vt:lpstr>
      <vt:lpstr>Telerik UI .NET Web</vt:lpstr>
      <vt:lpstr>Telerik UI for ASP.NET AJAX</vt:lpstr>
      <vt:lpstr>End of .NET 3.5-4.0 Support After R2 2023 SP1    Newer Versions .NET 4.5-4.8 Only</vt:lpstr>
      <vt:lpstr>Telerik UI for AJAX Demos</vt:lpstr>
      <vt:lpstr>Day-Zero Support for .NET 8 Previews</vt:lpstr>
      <vt:lpstr>Content Security Policy Support</vt:lpstr>
      <vt:lpstr>New in Telerik UI for MVC/Core</vt:lpstr>
      <vt:lpstr>Telerik UI for MVC/Core</vt:lpstr>
      <vt:lpstr>Telerik UI for MVC/Core</vt:lpstr>
      <vt:lpstr>Telerik UI for MVC/Core</vt:lpstr>
      <vt:lpstr>Telerik UI for MVC/Core</vt:lpstr>
      <vt:lpstr>Telerik UI for MVC/Core Demos</vt:lpstr>
      <vt:lpstr>Telerik UI for Blazor </vt:lpstr>
      <vt:lpstr>Telerik UI for Blazor </vt:lpstr>
      <vt:lpstr>Telerik UI for Blazor </vt:lpstr>
      <vt:lpstr>Deprecation of .NET 3 and .NET 5  in Telerik UI for Blazor Starting from R1 2024</vt:lpstr>
      <vt:lpstr>Telerik UI for Blazor Demos</vt:lpstr>
      <vt:lpstr>ThemeBuilder Enhancements ASP.NET MVC and ASP.NET Core  </vt:lpstr>
      <vt:lpstr>New Progress Design System Resources Telerik .NET and Kendo UI Web  </vt:lpstr>
      <vt:lpstr>Blazor Hybrid is Officially Supported! Telerik UI for Blazo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 Charbeneau</dc:creator>
  <cp:lastModifiedBy>Ed Charbeneau</cp:lastModifiedBy>
  <cp:revision>3</cp:revision>
  <dcterms:created xsi:type="dcterms:W3CDTF">2022-01-31T19:24:52Z</dcterms:created>
  <dcterms:modified xsi:type="dcterms:W3CDTF">2023-10-20T16:3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7576F97729CF419CC9B14785F58C84</vt:lpwstr>
  </property>
</Properties>
</file>